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31"/>
  </p:notesMasterIdLst>
  <p:sldIdLst>
    <p:sldId id="398" r:id="rId3"/>
    <p:sldId id="399" r:id="rId4"/>
    <p:sldId id="400" r:id="rId5"/>
    <p:sldId id="813" r:id="rId6"/>
    <p:sldId id="814" r:id="rId7"/>
    <p:sldId id="815" r:id="rId8"/>
    <p:sldId id="816" r:id="rId9"/>
    <p:sldId id="817" r:id="rId10"/>
    <p:sldId id="818" r:id="rId11"/>
    <p:sldId id="819" r:id="rId12"/>
    <p:sldId id="820" r:id="rId13"/>
    <p:sldId id="821" r:id="rId14"/>
    <p:sldId id="822" r:id="rId15"/>
    <p:sldId id="823" r:id="rId16"/>
    <p:sldId id="824" r:id="rId17"/>
    <p:sldId id="825" r:id="rId18"/>
    <p:sldId id="826" r:id="rId19"/>
    <p:sldId id="827" r:id="rId20"/>
    <p:sldId id="2902" r:id="rId21"/>
    <p:sldId id="2903" r:id="rId22"/>
    <p:sldId id="2904" r:id="rId23"/>
    <p:sldId id="2907" r:id="rId24"/>
    <p:sldId id="2906" r:id="rId25"/>
    <p:sldId id="2908" r:id="rId26"/>
    <p:sldId id="2909" r:id="rId27"/>
    <p:sldId id="2910" r:id="rId28"/>
    <p:sldId id="2911" r:id="rId29"/>
    <p:sldId id="812" r:id="rId30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B370AF60-E780-4006-BBAB-73EA7D953092}">
          <p14:sldIdLst>
            <p14:sldId id="398"/>
            <p14:sldId id="399"/>
            <p14:sldId id="400"/>
            <p14:sldId id="813"/>
            <p14:sldId id="814"/>
            <p14:sldId id="815"/>
            <p14:sldId id="816"/>
            <p14:sldId id="817"/>
            <p14:sldId id="818"/>
            <p14:sldId id="819"/>
            <p14:sldId id="820"/>
            <p14:sldId id="821"/>
            <p14:sldId id="822"/>
            <p14:sldId id="823"/>
            <p14:sldId id="824"/>
            <p14:sldId id="825"/>
            <p14:sldId id="826"/>
            <p14:sldId id="827"/>
            <p14:sldId id="2902"/>
            <p14:sldId id="2903"/>
            <p14:sldId id="2904"/>
            <p14:sldId id="2907"/>
            <p14:sldId id="2906"/>
            <p14:sldId id="2908"/>
            <p14:sldId id="2909"/>
            <p14:sldId id="2910"/>
            <p14:sldId id="2911"/>
            <p14:sldId id="8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265B"/>
    <a:srgbClr val="ED14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1750" autoAdjust="0"/>
    <p:restoredTop sz="94660"/>
  </p:normalViewPr>
  <p:slideViewPr>
    <p:cSldViewPr>
      <p:cViewPr varScale="1">
        <p:scale>
          <a:sx n="57" d="100"/>
          <a:sy n="57" d="100"/>
        </p:scale>
        <p:origin x="499" y="43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27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27/0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74914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27/07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27/07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27/07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27/07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ideo" Target="https://www.youtube.com/embed/AQdLQV6vhbk?feature=oembed" TargetMode="External"/><Relationship Id="rId4" Type="http://schemas.openxmlformats.org/officeDocument/2006/relationships/image" Target="../media/image2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devopedia.org/iot-cloud-platforms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https://www.bndes.gov.br/wps/portal/site/home/conhecimento/estudos/chamada-publica-internet-coisas/estudo-internet-das-coisas-um-plano-de-acao-para-o-brasil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ideo" Target="https://www.youtube.com/embed/NjYTzvAVozo?feature=oembed" TargetMode="External"/><Relationship Id="rId4" Type="http://schemas.openxmlformats.org/officeDocument/2006/relationships/image" Target="../media/image3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ideo" Target="https://www.youtube.com/embed/d7Rd6UgcrWo?feature=oembed" TargetMode="External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posição de cenários envolvendo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grpSp>
        <p:nvGrpSpPr>
          <p:cNvPr id="3" name="Arrow3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CBDA943-7C66-B258-0062-7D66A4B3FDD1}"/>
              </a:ext>
            </a:extLst>
          </p:cNvPr>
          <p:cNvGrpSpPr>
            <a:grpSpLocks noChangeAspect="1"/>
          </p:cNvGrpSpPr>
          <p:nvPr/>
        </p:nvGrpSpPr>
        <p:grpSpPr>
          <a:xfrm>
            <a:off x="3664465" y="2694603"/>
            <a:ext cx="893459" cy="885263"/>
            <a:chOff x="6004176" y="1690066"/>
            <a:chExt cx="1039285" cy="1029748"/>
          </a:xfrm>
          <a:solidFill>
            <a:schemeClr val="accent1"/>
          </a:solidFill>
        </p:grpSpPr>
        <p:sp>
          <p:nvSpPr>
            <p:cNvPr id="4" name="Freeform 195">
              <a:extLst>
                <a:ext uri="{FF2B5EF4-FFF2-40B4-BE49-F238E27FC236}">
                  <a16:creationId xmlns:a16="http://schemas.microsoft.com/office/drawing/2014/main" id="{C63555FD-A137-2E09-F8CD-C0CAFAD42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5" name="Freeform 196">
              <a:extLst>
                <a:ext uri="{FF2B5EF4-FFF2-40B4-BE49-F238E27FC236}">
                  <a16:creationId xmlns:a16="http://schemas.microsoft.com/office/drawing/2014/main" id="{D4C597B4-D040-4E6C-0F6E-CEC1C58AC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6" name="Freeform 197">
              <a:extLst>
                <a:ext uri="{FF2B5EF4-FFF2-40B4-BE49-F238E27FC236}">
                  <a16:creationId xmlns:a16="http://schemas.microsoft.com/office/drawing/2014/main" id="{CA084F05-C018-2438-DEAA-C0F2C1058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7" name="Freeform 198">
              <a:extLst>
                <a:ext uri="{FF2B5EF4-FFF2-40B4-BE49-F238E27FC236}">
                  <a16:creationId xmlns:a16="http://schemas.microsoft.com/office/drawing/2014/main" id="{99BB61E0-C4DB-3388-25BE-382FCBE0A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grpSp>
        <p:nvGrpSpPr>
          <p:cNvPr id="8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EF68BFC-3E62-C7CD-748E-5314DBFCA912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751909" y="2871571"/>
            <a:ext cx="893461" cy="885263"/>
            <a:chOff x="6004176" y="1690066"/>
            <a:chExt cx="1039285" cy="1029748"/>
          </a:xfrm>
          <a:solidFill>
            <a:schemeClr val="accent2"/>
          </a:solidFill>
        </p:grpSpPr>
        <p:sp>
          <p:nvSpPr>
            <p:cNvPr id="10" name="Freeform 195">
              <a:extLst>
                <a:ext uri="{FF2B5EF4-FFF2-40B4-BE49-F238E27FC236}">
                  <a16:creationId xmlns:a16="http://schemas.microsoft.com/office/drawing/2014/main" id="{69081A95-A4DD-9665-547E-EE7DFD21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1" name="Freeform 196">
              <a:extLst>
                <a:ext uri="{FF2B5EF4-FFF2-40B4-BE49-F238E27FC236}">
                  <a16:creationId xmlns:a16="http://schemas.microsoft.com/office/drawing/2014/main" id="{0C9A55A9-7259-8FC4-0D7D-194B351C8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2" name="Freeform 197">
              <a:extLst>
                <a:ext uri="{FF2B5EF4-FFF2-40B4-BE49-F238E27FC236}">
                  <a16:creationId xmlns:a16="http://schemas.microsoft.com/office/drawing/2014/main" id="{999E7379-972A-6633-5204-F3073F0BF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3" name="Freeform 198">
              <a:extLst>
                <a:ext uri="{FF2B5EF4-FFF2-40B4-BE49-F238E27FC236}">
                  <a16:creationId xmlns:a16="http://schemas.microsoft.com/office/drawing/2014/main" id="{6D34F995-D71D-58EA-71BC-2FF964759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grpSp>
        <p:nvGrpSpPr>
          <p:cNvPr id="14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B0AEEE0-E53E-725F-28A7-D9DAB089414A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4611453" y="3962785"/>
            <a:ext cx="893461" cy="885263"/>
            <a:chOff x="6004176" y="1690066"/>
            <a:chExt cx="1039285" cy="1029748"/>
          </a:xfrm>
          <a:solidFill>
            <a:schemeClr val="accent3"/>
          </a:solidFill>
        </p:grpSpPr>
        <p:sp>
          <p:nvSpPr>
            <p:cNvPr id="15" name="Freeform 195">
              <a:extLst>
                <a:ext uri="{FF2B5EF4-FFF2-40B4-BE49-F238E27FC236}">
                  <a16:creationId xmlns:a16="http://schemas.microsoft.com/office/drawing/2014/main" id="{CD53B1AD-2D94-32AE-1C7F-B0C09337A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6" name="Freeform 196">
              <a:extLst>
                <a:ext uri="{FF2B5EF4-FFF2-40B4-BE49-F238E27FC236}">
                  <a16:creationId xmlns:a16="http://schemas.microsoft.com/office/drawing/2014/main" id="{1D526CC1-7EA1-C14D-0B0E-442C51896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7" name="Freeform 197">
              <a:extLst>
                <a:ext uri="{FF2B5EF4-FFF2-40B4-BE49-F238E27FC236}">
                  <a16:creationId xmlns:a16="http://schemas.microsoft.com/office/drawing/2014/main" id="{8C671F46-CDCF-9302-9AC6-D7378706F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8" name="Freeform 198">
              <a:extLst>
                <a:ext uri="{FF2B5EF4-FFF2-40B4-BE49-F238E27FC236}">
                  <a16:creationId xmlns:a16="http://schemas.microsoft.com/office/drawing/2014/main" id="{66589EE0-605A-504B-EEC4-CD90B181B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grpSp>
        <p:nvGrpSpPr>
          <p:cNvPr id="19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726A5F0-8E2F-4AEF-D850-37A4F7C4D89E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3498634" y="3822344"/>
            <a:ext cx="893459" cy="885263"/>
            <a:chOff x="6004176" y="1690066"/>
            <a:chExt cx="1039285" cy="1029748"/>
          </a:xfrm>
          <a:solidFill>
            <a:schemeClr val="accent4"/>
          </a:solidFill>
        </p:grpSpPr>
        <p:sp>
          <p:nvSpPr>
            <p:cNvPr id="20" name="Freeform 195">
              <a:extLst>
                <a:ext uri="{FF2B5EF4-FFF2-40B4-BE49-F238E27FC236}">
                  <a16:creationId xmlns:a16="http://schemas.microsoft.com/office/drawing/2014/main" id="{6A724DAD-F635-4EB9-A84D-3A7D598F9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21" name="Freeform 196">
              <a:extLst>
                <a:ext uri="{FF2B5EF4-FFF2-40B4-BE49-F238E27FC236}">
                  <a16:creationId xmlns:a16="http://schemas.microsoft.com/office/drawing/2014/main" id="{E0970C13-4A54-2203-6AEC-9FEF02B88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22" name="Freeform 197">
              <a:extLst>
                <a:ext uri="{FF2B5EF4-FFF2-40B4-BE49-F238E27FC236}">
                  <a16:creationId xmlns:a16="http://schemas.microsoft.com/office/drawing/2014/main" id="{EA79ED4A-33F7-6BB6-EC14-B12B2B548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23" name="Freeform 198">
              <a:extLst>
                <a:ext uri="{FF2B5EF4-FFF2-40B4-BE49-F238E27FC236}">
                  <a16:creationId xmlns:a16="http://schemas.microsoft.com/office/drawing/2014/main" id="{E6E13230-F917-E18D-8318-65120B4DE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pt-BR" dirty="0">
                <a:solidFill>
                  <a:prstClr val="black"/>
                </a:solidFill>
                <a:latin typeface="Gotham HTF"/>
              </a:endParaRPr>
            </a:p>
          </p:txBody>
        </p:sp>
      </p:grpSp>
      <p:sp>
        <p:nvSpPr>
          <p:cNvPr id="24" name="Gea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87DF9C5-CB1C-AF73-D80B-1604FC119D0C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3985592" y="3183669"/>
            <a:ext cx="1172818" cy="1175314"/>
          </a:xfrm>
          <a:custGeom>
            <a:avLst/>
            <a:gdLst>
              <a:gd name="T0" fmla="*/ 1246 w 1250"/>
              <a:gd name="T1" fmla="*/ 696 h 1250"/>
              <a:gd name="T2" fmla="*/ 1246 w 1250"/>
              <a:gd name="T3" fmla="*/ 554 h 1250"/>
              <a:gd name="T4" fmla="*/ 1077 w 1250"/>
              <a:gd name="T5" fmla="*/ 512 h 1250"/>
              <a:gd name="T6" fmla="*/ 1024 w 1250"/>
              <a:gd name="T7" fmla="*/ 386 h 1250"/>
              <a:gd name="T8" fmla="*/ 1113 w 1250"/>
              <a:gd name="T9" fmla="*/ 238 h 1250"/>
              <a:gd name="T10" fmla="*/ 950 w 1250"/>
              <a:gd name="T11" fmla="*/ 140 h 1250"/>
              <a:gd name="T12" fmla="*/ 803 w 1250"/>
              <a:gd name="T13" fmla="*/ 240 h 1250"/>
              <a:gd name="T14" fmla="*/ 738 w 1250"/>
              <a:gd name="T15" fmla="*/ 53 h 1250"/>
              <a:gd name="T16" fmla="*/ 625 w 1250"/>
              <a:gd name="T17" fmla="*/ 0 h 1250"/>
              <a:gd name="T18" fmla="*/ 512 w 1250"/>
              <a:gd name="T19" fmla="*/ 53 h 1250"/>
              <a:gd name="T20" fmla="*/ 479 w 1250"/>
              <a:gd name="T21" fmla="*/ 227 h 1250"/>
              <a:gd name="T22" fmla="*/ 300 w 1250"/>
              <a:gd name="T23" fmla="*/ 140 h 1250"/>
              <a:gd name="T24" fmla="*/ 138 w 1250"/>
              <a:gd name="T25" fmla="*/ 238 h 1250"/>
              <a:gd name="T26" fmla="*/ 226 w 1250"/>
              <a:gd name="T27" fmla="*/ 386 h 1250"/>
              <a:gd name="T28" fmla="*/ 173 w 1250"/>
              <a:gd name="T29" fmla="*/ 512 h 1250"/>
              <a:gd name="T30" fmla="*/ 4 w 1250"/>
              <a:gd name="T31" fmla="*/ 554 h 1250"/>
              <a:gd name="T32" fmla="*/ 4 w 1250"/>
              <a:gd name="T33" fmla="*/ 696 h 1250"/>
              <a:gd name="T34" fmla="*/ 173 w 1250"/>
              <a:gd name="T35" fmla="*/ 738 h 1250"/>
              <a:gd name="T36" fmla="*/ 226 w 1250"/>
              <a:gd name="T37" fmla="*/ 864 h 1250"/>
              <a:gd name="T38" fmla="*/ 138 w 1250"/>
              <a:gd name="T39" fmla="*/ 1012 h 1250"/>
              <a:gd name="T40" fmla="*/ 300 w 1250"/>
              <a:gd name="T41" fmla="*/ 1110 h 1250"/>
              <a:gd name="T42" fmla="*/ 447 w 1250"/>
              <a:gd name="T43" fmla="*/ 1010 h 1250"/>
              <a:gd name="T44" fmla="*/ 512 w 1250"/>
              <a:gd name="T45" fmla="*/ 1197 h 1250"/>
              <a:gd name="T46" fmla="*/ 625 w 1250"/>
              <a:gd name="T47" fmla="*/ 1250 h 1250"/>
              <a:gd name="T48" fmla="*/ 738 w 1250"/>
              <a:gd name="T49" fmla="*/ 1197 h 1250"/>
              <a:gd name="T50" fmla="*/ 771 w 1250"/>
              <a:gd name="T51" fmla="*/ 1023 h 1250"/>
              <a:gd name="T52" fmla="*/ 950 w 1250"/>
              <a:gd name="T53" fmla="*/ 1110 h 1250"/>
              <a:gd name="T54" fmla="*/ 1113 w 1250"/>
              <a:gd name="T55" fmla="*/ 1012 h 1250"/>
              <a:gd name="T56" fmla="*/ 1024 w 1250"/>
              <a:gd name="T57" fmla="*/ 864 h 1250"/>
              <a:gd name="T58" fmla="*/ 1077 w 1250"/>
              <a:gd name="T59" fmla="*/ 738 h 1250"/>
              <a:gd name="T60" fmla="*/ 625 w 1250"/>
              <a:gd name="T61" fmla="*/ 854 h 1250"/>
              <a:gd name="T62" fmla="*/ 625 w 1250"/>
              <a:gd name="T63" fmla="*/ 396 h 1250"/>
              <a:gd name="T64" fmla="*/ 625 w 1250"/>
              <a:gd name="T65" fmla="*/ 854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50" h="1250">
                <a:moveTo>
                  <a:pt x="1197" y="738"/>
                </a:moveTo>
                <a:cubicBezTo>
                  <a:pt x="1221" y="738"/>
                  <a:pt x="1242" y="719"/>
                  <a:pt x="1246" y="696"/>
                </a:cubicBezTo>
                <a:cubicBezTo>
                  <a:pt x="1246" y="696"/>
                  <a:pt x="1250" y="664"/>
                  <a:pt x="1250" y="625"/>
                </a:cubicBezTo>
                <a:cubicBezTo>
                  <a:pt x="1250" y="586"/>
                  <a:pt x="1246" y="554"/>
                  <a:pt x="1246" y="554"/>
                </a:cubicBezTo>
                <a:cubicBezTo>
                  <a:pt x="1242" y="531"/>
                  <a:pt x="1221" y="512"/>
                  <a:pt x="1197" y="512"/>
                </a:cubicBezTo>
                <a:lnTo>
                  <a:pt x="1077" y="512"/>
                </a:lnTo>
                <a:cubicBezTo>
                  <a:pt x="1053" y="512"/>
                  <a:pt x="1029" y="497"/>
                  <a:pt x="1023" y="479"/>
                </a:cubicBezTo>
                <a:cubicBezTo>
                  <a:pt x="1017" y="461"/>
                  <a:pt x="1008" y="402"/>
                  <a:pt x="1024" y="386"/>
                </a:cubicBezTo>
                <a:lnTo>
                  <a:pt x="1110" y="300"/>
                </a:lnTo>
                <a:cubicBezTo>
                  <a:pt x="1126" y="284"/>
                  <a:pt x="1127" y="256"/>
                  <a:pt x="1113" y="238"/>
                </a:cubicBezTo>
                <a:lnTo>
                  <a:pt x="1012" y="138"/>
                </a:lnTo>
                <a:cubicBezTo>
                  <a:pt x="994" y="123"/>
                  <a:pt x="966" y="124"/>
                  <a:pt x="950" y="140"/>
                </a:cubicBezTo>
                <a:lnTo>
                  <a:pt x="864" y="226"/>
                </a:lnTo>
                <a:cubicBezTo>
                  <a:pt x="848" y="242"/>
                  <a:pt x="820" y="249"/>
                  <a:pt x="803" y="240"/>
                </a:cubicBezTo>
                <a:cubicBezTo>
                  <a:pt x="786" y="232"/>
                  <a:pt x="738" y="197"/>
                  <a:pt x="738" y="173"/>
                </a:cubicBezTo>
                <a:lnTo>
                  <a:pt x="738" y="53"/>
                </a:lnTo>
                <a:cubicBezTo>
                  <a:pt x="738" y="29"/>
                  <a:pt x="719" y="8"/>
                  <a:pt x="696" y="4"/>
                </a:cubicBezTo>
                <a:cubicBezTo>
                  <a:pt x="696" y="4"/>
                  <a:pt x="664" y="0"/>
                  <a:pt x="625" y="0"/>
                </a:cubicBezTo>
                <a:cubicBezTo>
                  <a:pt x="586" y="0"/>
                  <a:pt x="554" y="4"/>
                  <a:pt x="554" y="4"/>
                </a:cubicBezTo>
                <a:cubicBezTo>
                  <a:pt x="531" y="8"/>
                  <a:pt x="512" y="29"/>
                  <a:pt x="512" y="53"/>
                </a:cubicBezTo>
                <a:lnTo>
                  <a:pt x="512" y="173"/>
                </a:lnTo>
                <a:cubicBezTo>
                  <a:pt x="512" y="197"/>
                  <a:pt x="497" y="221"/>
                  <a:pt x="479" y="227"/>
                </a:cubicBezTo>
                <a:cubicBezTo>
                  <a:pt x="461" y="233"/>
                  <a:pt x="402" y="242"/>
                  <a:pt x="386" y="226"/>
                </a:cubicBezTo>
                <a:lnTo>
                  <a:pt x="300" y="140"/>
                </a:lnTo>
                <a:cubicBezTo>
                  <a:pt x="284" y="124"/>
                  <a:pt x="256" y="123"/>
                  <a:pt x="238" y="138"/>
                </a:cubicBezTo>
                <a:lnTo>
                  <a:pt x="138" y="238"/>
                </a:lnTo>
                <a:cubicBezTo>
                  <a:pt x="123" y="256"/>
                  <a:pt x="124" y="284"/>
                  <a:pt x="140" y="300"/>
                </a:cubicBezTo>
                <a:lnTo>
                  <a:pt x="226" y="386"/>
                </a:lnTo>
                <a:cubicBezTo>
                  <a:pt x="242" y="402"/>
                  <a:pt x="249" y="430"/>
                  <a:pt x="240" y="447"/>
                </a:cubicBezTo>
                <a:cubicBezTo>
                  <a:pt x="232" y="464"/>
                  <a:pt x="197" y="512"/>
                  <a:pt x="173" y="512"/>
                </a:cubicBezTo>
                <a:lnTo>
                  <a:pt x="53" y="512"/>
                </a:lnTo>
                <a:cubicBezTo>
                  <a:pt x="29" y="512"/>
                  <a:pt x="8" y="531"/>
                  <a:pt x="4" y="554"/>
                </a:cubicBezTo>
                <a:cubicBezTo>
                  <a:pt x="4" y="554"/>
                  <a:pt x="0" y="586"/>
                  <a:pt x="0" y="625"/>
                </a:cubicBezTo>
                <a:cubicBezTo>
                  <a:pt x="0" y="664"/>
                  <a:pt x="4" y="696"/>
                  <a:pt x="4" y="696"/>
                </a:cubicBezTo>
                <a:cubicBezTo>
                  <a:pt x="8" y="719"/>
                  <a:pt x="29" y="738"/>
                  <a:pt x="53" y="738"/>
                </a:cubicBezTo>
                <a:lnTo>
                  <a:pt x="173" y="738"/>
                </a:lnTo>
                <a:cubicBezTo>
                  <a:pt x="197" y="738"/>
                  <a:pt x="221" y="753"/>
                  <a:pt x="227" y="771"/>
                </a:cubicBezTo>
                <a:cubicBezTo>
                  <a:pt x="233" y="789"/>
                  <a:pt x="242" y="848"/>
                  <a:pt x="226" y="864"/>
                </a:cubicBezTo>
                <a:lnTo>
                  <a:pt x="140" y="950"/>
                </a:lnTo>
                <a:cubicBezTo>
                  <a:pt x="124" y="966"/>
                  <a:pt x="123" y="994"/>
                  <a:pt x="138" y="1012"/>
                </a:cubicBezTo>
                <a:lnTo>
                  <a:pt x="238" y="1113"/>
                </a:lnTo>
                <a:cubicBezTo>
                  <a:pt x="256" y="1127"/>
                  <a:pt x="284" y="1126"/>
                  <a:pt x="300" y="1110"/>
                </a:cubicBezTo>
                <a:lnTo>
                  <a:pt x="386" y="1024"/>
                </a:lnTo>
                <a:cubicBezTo>
                  <a:pt x="402" y="1008"/>
                  <a:pt x="430" y="1001"/>
                  <a:pt x="447" y="1010"/>
                </a:cubicBezTo>
                <a:cubicBezTo>
                  <a:pt x="464" y="1018"/>
                  <a:pt x="512" y="1053"/>
                  <a:pt x="512" y="1077"/>
                </a:cubicBezTo>
                <a:lnTo>
                  <a:pt x="512" y="1197"/>
                </a:lnTo>
                <a:cubicBezTo>
                  <a:pt x="512" y="1221"/>
                  <a:pt x="531" y="1242"/>
                  <a:pt x="554" y="1246"/>
                </a:cubicBezTo>
                <a:cubicBezTo>
                  <a:pt x="554" y="1246"/>
                  <a:pt x="586" y="1250"/>
                  <a:pt x="625" y="1250"/>
                </a:cubicBezTo>
                <a:cubicBezTo>
                  <a:pt x="664" y="1250"/>
                  <a:pt x="696" y="1246"/>
                  <a:pt x="696" y="1246"/>
                </a:cubicBezTo>
                <a:cubicBezTo>
                  <a:pt x="719" y="1242"/>
                  <a:pt x="738" y="1221"/>
                  <a:pt x="738" y="1197"/>
                </a:cubicBezTo>
                <a:lnTo>
                  <a:pt x="738" y="1077"/>
                </a:lnTo>
                <a:cubicBezTo>
                  <a:pt x="738" y="1053"/>
                  <a:pt x="753" y="1029"/>
                  <a:pt x="771" y="1023"/>
                </a:cubicBezTo>
                <a:cubicBezTo>
                  <a:pt x="789" y="1017"/>
                  <a:pt x="848" y="1008"/>
                  <a:pt x="864" y="1024"/>
                </a:cubicBezTo>
                <a:lnTo>
                  <a:pt x="950" y="1110"/>
                </a:lnTo>
                <a:cubicBezTo>
                  <a:pt x="966" y="1126"/>
                  <a:pt x="994" y="1127"/>
                  <a:pt x="1012" y="1112"/>
                </a:cubicBezTo>
                <a:lnTo>
                  <a:pt x="1113" y="1012"/>
                </a:lnTo>
                <a:cubicBezTo>
                  <a:pt x="1127" y="994"/>
                  <a:pt x="1126" y="966"/>
                  <a:pt x="1110" y="950"/>
                </a:cubicBezTo>
                <a:lnTo>
                  <a:pt x="1024" y="864"/>
                </a:lnTo>
                <a:cubicBezTo>
                  <a:pt x="1008" y="848"/>
                  <a:pt x="1001" y="820"/>
                  <a:pt x="1010" y="803"/>
                </a:cubicBezTo>
                <a:cubicBezTo>
                  <a:pt x="1018" y="786"/>
                  <a:pt x="1053" y="738"/>
                  <a:pt x="1077" y="738"/>
                </a:cubicBezTo>
                <a:lnTo>
                  <a:pt x="1197" y="738"/>
                </a:lnTo>
                <a:close/>
                <a:moveTo>
                  <a:pt x="625" y="854"/>
                </a:moveTo>
                <a:cubicBezTo>
                  <a:pt x="499" y="854"/>
                  <a:pt x="396" y="751"/>
                  <a:pt x="396" y="625"/>
                </a:cubicBezTo>
                <a:cubicBezTo>
                  <a:pt x="396" y="499"/>
                  <a:pt x="499" y="396"/>
                  <a:pt x="625" y="396"/>
                </a:cubicBezTo>
                <a:cubicBezTo>
                  <a:pt x="751" y="396"/>
                  <a:pt x="854" y="499"/>
                  <a:pt x="854" y="625"/>
                </a:cubicBezTo>
                <a:cubicBezTo>
                  <a:pt x="854" y="751"/>
                  <a:pt x="751" y="854"/>
                  <a:pt x="625" y="854"/>
                </a:cubicBezTo>
                <a:close/>
              </a:path>
            </a:pathLst>
          </a:custGeom>
          <a:solidFill>
            <a:srgbClr val="D9D9D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pt-BR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25" name="TextBox 23">
            <a:extLst>
              <a:ext uri="{FF2B5EF4-FFF2-40B4-BE49-F238E27FC236}">
                <a16:creationId xmlns:a16="http://schemas.microsoft.com/office/drawing/2014/main" id="{C526DB1E-D491-0400-0F5B-EF1BF0462E47}"/>
              </a:ext>
            </a:extLst>
          </p:cNvPr>
          <p:cNvSpPr txBox="1"/>
          <p:nvPr/>
        </p:nvSpPr>
        <p:spPr>
          <a:xfrm>
            <a:off x="628650" y="2279485"/>
            <a:ext cx="304882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b="1" dirty="0">
                <a:solidFill>
                  <a:schemeClr val="accent1"/>
                </a:solidFill>
                <a:latin typeface="Gotham HTF"/>
              </a:rPr>
              <a:t>Dispositivo </a:t>
            </a:r>
            <a:r>
              <a:rPr lang="pt-BR" b="1" dirty="0">
                <a:solidFill>
                  <a:schemeClr val="accent1"/>
                </a:solidFill>
                <a:latin typeface="Gotham HTF"/>
                <a:sym typeface="Wingdings" panose="05000000000000000000" pitchFamily="2" charset="2"/>
              </a:rPr>
              <a:t> Coisa (Thing)</a:t>
            </a:r>
            <a:endParaRPr lang="pt-BR" b="1" dirty="0">
              <a:solidFill>
                <a:schemeClr val="accent1"/>
              </a:solidFill>
              <a:latin typeface="Gotham HTF"/>
            </a:endParaRPr>
          </a:p>
          <a:p>
            <a:pPr algn="r"/>
            <a:r>
              <a:rPr lang="pt-BR" dirty="0">
                <a:latin typeface="Gotham HTF"/>
              </a:rPr>
              <a:t>Sensores;</a:t>
            </a:r>
          </a:p>
          <a:p>
            <a:pPr algn="r"/>
            <a:r>
              <a:rPr lang="pt-BR" dirty="0">
                <a:latin typeface="Gotham HTF"/>
              </a:rPr>
              <a:t>Máquinas Industriais;</a:t>
            </a:r>
          </a:p>
          <a:p>
            <a:pPr algn="r"/>
            <a:r>
              <a:rPr lang="pt-BR" dirty="0">
                <a:latin typeface="Gotham HTF"/>
              </a:rPr>
              <a:t>Produtos;</a:t>
            </a:r>
          </a:p>
          <a:p>
            <a:pPr algn="r"/>
            <a:r>
              <a:rPr lang="pt-BR" dirty="0">
                <a:latin typeface="Gotham HTF"/>
              </a:rPr>
              <a:t>Sistemas;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1D674F7C-E371-1A6B-A7BD-C3E7B76989F6}"/>
              </a:ext>
            </a:extLst>
          </p:cNvPr>
          <p:cNvSpPr txBox="1"/>
          <p:nvPr/>
        </p:nvSpPr>
        <p:spPr>
          <a:xfrm>
            <a:off x="5466522" y="2279485"/>
            <a:ext cx="3048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accent2"/>
                </a:solidFill>
                <a:latin typeface="Gotham HTF"/>
              </a:rPr>
              <a:t>Conectividade com a Internet</a:t>
            </a:r>
          </a:p>
        </p:txBody>
      </p:sp>
      <p:sp>
        <p:nvSpPr>
          <p:cNvPr id="27" name="TextBox 25">
            <a:extLst>
              <a:ext uri="{FF2B5EF4-FFF2-40B4-BE49-F238E27FC236}">
                <a16:creationId xmlns:a16="http://schemas.microsoft.com/office/drawing/2014/main" id="{C64D5E8C-BA73-2451-DE52-19B09441489B}"/>
              </a:ext>
            </a:extLst>
          </p:cNvPr>
          <p:cNvSpPr txBox="1"/>
          <p:nvPr/>
        </p:nvSpPr>
        <p:spPr>
          <a:xfrm>
            <a:off x="628650" y="4461125"/>
            <a:ext cx="3048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b="1" dirty="0">
                <a:solidFill>
                  <a:schemeClr val="accent4"/>
                </a:solidFill>
                <a:latin typeface="Gotham HTF"/>
              </a:rPr>
              <a:t>Inovação</a:t>
            </a:r>
          </a:p>
          <a:p>
            <a:pPr algn="r"/>
            <a:r>
              <a:rPr lang="pt-BR" dirty="0">
                <a:latin typeface="Gotham HTF"/>
              </a:rPr>
              <a:t>Inteligência Artificial;</a:t>
            </a:r>
          </a:p>
          <a:p>
            <a:pPr algn="r"/>
            <a:r>
              <a:rPr lang="pt-BR" dirty="0">
                <a:latin typeface="Gotham HTF"/>
              </a:rPr>
              <a:t>Biga Data;</a:t>
            </a:r>
          </a:p>
          <a:p>
            <a:pPr algn="r"/>
            <a:r>
              <a:rPr lang="pt-BR" dirty="0">
                <a:latin typeface="Gotham HTF"/>
              </a:rPr>
              <a:t>Computação Cognitiva;</a:t>
            </a:r>
          </a:p>
        </p:txBody>
      </p:sp>
      <p:sp>
        <p:nvSpPr>
          <p:cNvPr id="28" name="TextBox 26">
            <a:extLst>
              <a:ext uri="{FF2B5EF4-FFF2-40B4-BE49-F238E27FC236}">
                <a16:creationId xmlns:a16="http://schemas.microsoft.com/office/drawing/2014/main" id="{A46DF7F2-6E22-659E-27DF-9526C51B3893}"/>
              </a:ext>
            </a:extLst>
          </p:cNvPr>
          <p:cNvSpPr txBox="1"/>
          <p:nvPr/>
        </p:nvSpPr>
        <p:spPr>
          <a:xfrm>
            <a:off x="5466522" y="4461125"/>
            <a:ext cx="304882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accent3"/>
                </a:solidFill>
                <a:latin typeface="Gotham HTF"/>
              </a:rPr>
              <a:t>Gestão e Integração dos Dados</a:t>
            </a:r>
          </a:p>
          <a:p>
            <a:r>
              <a:rPr lang="pt-BR" dirty="0">
                <a:latin typeface="Gotham HTF"/>
              </a:rPr>
              <a:t>Banco de Dados;</a:t>
            </a:r>
          </a:p>
          <a:p>
            <a:r>
              <a:rPr lang="pt-BR" dirty="0">
                <a:latin typeface="Gotham HTF"/>
              </a:rPr>
              <a:t>Business </a:t>
            </a:r>
            <a:r>
              <a:rPr lang="pt-BR" dirty="0" err="1">
                <a:latin typeface="Gotham HTF"/>
              </a:rPr>
              <a:t>Intelligence</a:t>
            </a:r>
            <a:r>
              <a:rPr lang="pt-BR" dirty="0">
                <a:latin typeface="Gotham HTF"/>
              </a:rPr>
              <a:t>;</a:t>
            </a:r>
          </a:p>
          <a:p>
            <a:r>
              <a:rPr lang="pt-BR" dirty="0">
                <a:latin typeface="Gotham HTF"/>
              </a:rPr>
              <a:t>Cloud </a:t>
            </a:r>
            <a:r>
              <a:rPr lang="pt-BR" dirty="0" err="1">
                <a:latin typeface="Gotham HTF"/>
              </a:rPr>
              <a:t>Computing</a:t>
            </a:r>
            <a:r>
              <a:rPr lang="pt-BR" dirty="0">
                <a:latin typeface="Gotham HTF"/>
              </a:rPr>
              <a:t>;</a:t>
            </a:r>
          </a:p>
          <a:p>
            <a:r>
              <a:rPr lang="pt-BR" dirty="0" err="1">
                <a:latin typeface="Gotham HTF"/>
              </a:rPr>
              <a:t>IoT</a:t>
            </a:r>
            <a:r>
              <a:rPr lang="pt-BR" dirty="0">
                <a:latin typeface="Gotham HTF"/>
              </a:rPr>
              <a:t> </a:t>
            </a:r>
            <a:r>
              <a:rPr lang="pt-BR" dirty="0" err="1">
                <a:latin typeface="Gotham HTF"/>
              </a:rPr>
              <a:t>platforms</a:t>
            </a:r>
            <a:r>
              <a:rPr lang="pt-BR" dirty="0">
                <a:latin typeface="Gotham HTF"/>
              </a:rPr>
              <a:t>;</a:t>
            </a: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5CF515D3-5F24-9850-DE7E-B7B5C2273D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983" y="2584504"/>
            <a:ext cx="3098800" cy="99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56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Cidades</a:t>
            </a:r>
          </a:p>
        </p:txBody>
      </p:sp>
      <p:pic>
        <p:nvPicPr>
          <p:cNvPr id="2" name="Picture 29" descr="red.PNG">
            <a:extLst>
              <a:ext uri="{FF2B5EF4-FFF2-40B4-BE49-F238E27FC236}">
                <a16:creationId xmlns:a16="http://schemas.microsoft.com/office/drawing/2014/main" id="{7DB1FAF7-B6F2-BDCD-0510-7036B963F0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088281"/>
            <a:ext cx="8496944" cy="46814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958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Cidades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05EF7B22-AB4B-C9C0-AEC7-42818D0E0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98" y="916521"/>
            <a:ext cx="9012405" cy="5024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941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industria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2" name="Picture 2" descr="Iot Vs Iiot blog">
            <a:extLst>
              <a:ext uri="{FF2B5EF4-FFF2-40B4-BE49-F238E27FC236}">
                <a16:creationId xmlns:a16="http://schemas.microsoft.com/office/drawing/2014/main" id="{2DD6D0A3-7C2D-3BF9-1125-966A076DC1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832356"/>
            <a:ext cx="4115230" cy="562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B4D9D6F8-1F34-6DFF-9F90-BA5AF3A5A747}"/>
              </a:ext>
            </a:extLst>
          </p:cNvPr>
          <p:cNvSpPr/>
          <p:nvPr/>
        </p:nvSpPr>
        <p:spPr>
          <a:xfrm>
            <a:off x="5600203" y="1340768"/>
            <a:ext cx="3315198" cy="22322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  <a:latin typeface="Gotham HTF"/>
              </a:rPr>
              <a:t>A </a:t>
            </a:r>
            <a:r>
              <a:rPr lang="pt-BR" dirty="0" err="1">
                <a:solidFill>
                  <a:schemeClr val="tx1"/>
                </a:solidFill>
                <a:latin typeface="Gotham HTF"/>
              </a:rPr>
              <a:t>IIoT</a:t>
            </a:r>
            <a:r>
              <a:rPr lang="pt-BR" dirty="0">
                <a:solidFill>
                  <a:schemeClr val="tx1"/>
                </a:solidFill>
                <a:latin typeface="Gotham HTF"/>
              </a:rPr>
              <a:t> consiste em máquinas conectadas e plataformas de análise avançadas que processam os dados produtos por essas máquinas. Os dispositivos variam de minúsculos sensores ambientais a complexos robôs industriais.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50326154-5DD3-F1E1-A4C9-1CE3FD72E837}"/>
              </a:ext>
            </a:extLst>
          </p:cNvPr>
          <p:cNvSpPr/>
          <p:nvPr/>
        </p:nvSpPr>
        <p:spPr>
          <a:xfrm>
            <a:off x="5387367" y="1340767"/>
            <a:ext cx="212833" cy="223224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6" name="Oval 4">
            <a:extLst>
              <a:ext uri="{FF2B5EF4-FFF2-40B4-BE49-F238E27FC236}">
                <a16:creationId xmlns:a16="http://schemas.microsoft.com/office/drawing/2014/main" id="{BAA3E764-39AF-DADE-8AB1-17FC8ECA2982}"/>
              </a:ext>
            </a:extLst>
          </p:cNvPr>
          <p:cNvSpPr>
            <a:spLocks noChangeAspect="1"/>
          </p:cNvSpPr>
          <p:nvPr/>
        </p:nvSpPr>
        <p:spPr>
          <a:xfrm>
            <a:off x="4602955" y="2145163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0B2011EA-35FC-9DD9-87A8-1EAFF626EBBD}"/>
              </a:ext>
            </a:extLst>
          </p:cNvPr>
          <p:cNvCxnSpPr>
            <a:cxnSpLocks/>
            <a:stCxn id="6" idx="6"/>
            <a:endCxn id="5" idx="1"/>
          </p:cNvCxnSpPr>
          <p:nvPr/>
        </p:nvCxnSpPr>
        <p:spPr>
          <a:xfrm>
            <a:off x="5226410" y="2456891"/>
            <a:ext cx="16095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6">
            <a:extLst>
              <a:ext uri="{FF2B5EF4-FFF2-40B4-BE49-F238E27FC236}">
                <a16:creationId xmlns:a16="http://schemas.microsoft.com/office/drawing/2014/main" id="{987DA53F-E73C-6E56-FBB9-D12D08B97E07}"/>
              </a:ext>
            </a:extLst>
          </p:cNvPr>
          <p:cNvSpPr/>
          <p:nvPr/>
        </p:nvSpPr>
        <p:spPr>
          <a:xfrm>
            <a:off x="5600202" y="4005065"/>
            <a:ext cx="3315198" cy="20162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dirty="0">
                <a:solidFill>
                  <a:schemeClr val="tx1"/>
                </a:solidFill>
                <a:latin typeface="Gotham HTF"/>
              </a:rPr>
              <a:t>Consiste em um arcabouço industrial composto por um vasto número de dispositivos e máquinas conectados e sincronizados por meio de ferramentas em um ambiente M2M.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32F83914-A67F-8141-CA0A-2B346AF4DF10}"/>
              </a:ext>
            </a:extLst>
          </p:cNvPr>
          <p:cNvSpPr/>
          <p:nvPr/>
        </p:nvSpPr>
        <p:spPr>
          <a:xfrm>
            <a:off x="5387366" y="4005064"/>
            <a:ext cx="212833" cy="2016221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11" name="Oval 8">
            <a:extLst>
              <a:ext uri="{FF2B5EF4-FFF2-40B4-BE49-F238E27FC236}">
                <a16:creationId xmlns:a16="http://schemas.microsoft.com/office/drawing/2014/main" id="{A4A716ED-9FC9-E2B8-F25A-78F43C63A79A}"/>
              </a:ext>
            </a:extLst>
          </p:cNvPr>
          <p:cNvSpPr>
            <a:spLocks noChangeAspect="1"/>
          </p:cNvSpPr>
          <p:nvPr/>
        </p:nvSpPr>
        <p:spPr>
          <a:xfrm>
            <a:off x="4602062" y="4701447"/>
            <a:ext cx="623455" cy="6234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12" name="Straight Connector 9">
            <a:extLst>
              <a:ext uri="{FF2B5EF4-FFF2-40B4-BE49-F238E27FC236}">
                <a16:creationId xmlns:a16="http://schemas.microsoft.com/office/drawing/2014/main" id="{9EAEA434-4AAB-9795-AB84-4C2FE2B17F57}"/>
              </a:ext>
            </a:extLst>
          </p:cNvPr>
          <p:cNvCxnSpPr>
            <a:cxnSpLocks/>
            <a:stCxn id="11" idx="6"/>
            <a:endCxn id="10" idx="1"/>
          </p:cNvCxnSpPr>
          <p:nvPr/>
        </p:nvCxnSpPr>
        <p:spPr>
          <a:xfrm>
            <a:off x="5225517" y="5013175"/>
            <a:ext cx="161849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978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industria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Mídia Online 2" title="What is IIoT?">
            <a:hlinkClick r:id="" action="ppaction://media"/>
            <a:extLst>
              <a:ext uri="{FF2B5EF4-FFF2-40B4-BE49-F238E27FC236}">
                <a16:creationId xmlns:a16="http://schemas.microsoft.com/office/drawing/2014/main" id="{F9FF82F1-7DF5-D542-DC26-31E770DED2F5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38775" y="980728"/>
            <a:ext cx="8666450" cy="489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232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nas industrias -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2" name="Picture 2" descr="https://www.enviromon.net/wp-content/uploads/iot-industry-sensors.jpg">
            <a:extLst>
              <a:ext uri="{FF2B5EF4-FFF2-40B4-BE49-F238E27FC236}">
                <a16:creationId xmlns:a16="http://schemas.microsoft.com/office/drawing/2014/main" id="{1348DB96-FABC-A0B5-62CE-63E1D7EBF4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3" y="2348880"/>
            <a:ext cx="6588224" cy="2262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Resultado de imagem para sensor iiot">
            <a:extLst>
              <a:ext uri="{FF2B5EF4-FFF2-40B4-BE49-F238E27FC236}">
                <a16:creationId xmlns:a16="http://schemas.microsoft.com/office/drawing/2014/main" id="{28A90C8C-F57F-4324-1529-4E11B5D1C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1408664"/>
            <a:ext cx="2857500" cy="414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73944638-3106-6E66-D8EB-6C79AA5CD394}"/>
              </a:ext>
            </a:extLst>
          </p:cNvPr>
          <p:cNvSpPr txBox="1"/>
          <p:nvPr/>
        </p:nvSpPr>
        <p:spPr>
          <a:xfrm>
            <a:off x="539552" y="4511796"/>
            <a:ext cx="139333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700" dirty="0"/>
              <a:t>Fonte: Wireless </a:t>
            </a:r>
            <a:r>
              <a:rPr lang="pt-BR" sz="700" dirty="0" err="1"/>
              <a:t>Connectivity</a:t>
            </a:r>
            <a:r>
              <a:rPr lang="pt-BR" sz="700" dirty="0"/>
              <a:t> </a:t>
            </a:r>
            <a:r>
              <a:rPr lang="pt-BR" sz="700" dirty="0" err="1"/>
              <a:t>test</a:t>
            </a:r>
            <a:endParaRPr lang="pt-BR" sz="700" dirty="0"/>
          </a:p>
        </p:txBody>
      </p:sp>
    </p:spTree>
    <p:extLst>
      <p:ext uri="{BB962C8B-B14F-4D97-AF65-F5344CB8AC3E}">
        <p14:creationId xmlns:p14="http://schemas.microsoft.com/office/powerpoint/2010/main" val="865469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ectividade para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8E696D3E-99BA-DBA9-24DE-ED7778790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8" y="1004887"/>
            <a:ext cx="8620125" cy="4848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790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curta distância</a:t>
            </a:r>
          </a:p>
        </p:txBody>
      </p:sp>
      <p:pic>
        <p:nvPicPr>
          <p:cNvPr id="12" name="Imagem 4" descr="Resultado de imagem para wifi">
            <a:extLst>
              <a:ext uri="{FF2B5EF4-FFF2-40B4-BE49-F238E27FC236}">
                <a16:creationId xmlns:a16="http://schemas.microsoft.com/office/drawing/2014/main" id="{ED33EF23-2F4C-938F-C2FD-82AA202B4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714" y="1579365"/>
            <a:ext cx="1570839" cy="930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>
            <a:extLst>
              <a:ext uri="{FF2B5EF4-FFF2-40B4-BE49-F238E27FC236}">
                <a16:creationId xmlns:a16="http://schemas.microsoft.com/office/drawing/2014/main" id="{C6576441-246D-BE70-5D41-00FEC843C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1365513"/>
            <a:ext cx="1836993" cy="1358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6">
            <a:extLst>
              <a:ext uri="{FF2B5EF4-FFF2-40B4-BE49-F238E27FC236}">
                <a16:creationId xmlns:a16="http://schemas.microsoft.com/office/drawing/2014/main" id="{52466C9F-CD27-1EF6-D4B0-10E120EF04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5" t="19533" r="3094" b="15334"/>
          <a:stretch/>
        </p:blipFill>
        <p:spPr bwMode="auto">
          <a:xfrm>
            <a:off x="6516216" y="1308487"/>
            <a:ext cx="2152527" cy="1472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ela 14">
            <a:extLst>
              <a:ext uri="{FF2B5EF4-FFF2-40B4-BE49-F238E27FC236}">
                <a16:creationId xmlns:a16="http://schemas.microsoft.com/office/drawing/2014/main" id="{91D6107B-92D3-17F1-E0FB-BED9730B1F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0439852"/>
              </p:ext>
            </p:extLst>
          </p:nvPr>
        </p:nvGraphicFramePr>
        <p:xfrm>
          <a:off x="1211796" y="3114603"/>
          <a:ext cx="6720407" cy="3308405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071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34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568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383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88484"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Padrão</a:t>
                      </a:r>
                    </a:p>
                  </a:txBody>
                  <a:tcPr marL="8299" marR="8299" marT="16598" marB="1659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Frequência</a:t>
                      </a:r>
                    </a:p>
                  </a:txBody>
                  <a:tcPr marL="8299" marR="8299" marT="16598" marB="16598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Distância do mundo real</a:t>
                      </a:r>
                      <a:endParaRPr lang="pt-BR" sz="1200" kern="1200" dirty="0">
                        <a:solidFill>
                          <a:schemeClr val="tx1"/>
                        </a:solidFill>
                        <a:effectLst/>
                        <a:latin typeface="Gotham HTF"/>
                        <a:ea typeface="+mn-ea"/>
                        <a:cs typeface="+mn-cs"/>
                      </a:endParaRPr>
                    </a:p>
                  </a:txBody>
                  <a:tcPr marL="8582" marR="8582" marT="17164" marB="17164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Velocidade no mundo real</a:t>
                      </a:r>
                    </a:p>
                  </a:txBody>
                  <a:tcPr marL="8299" marR="8299" marT="16598" marB="1659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a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5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60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3-32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b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.4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70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-3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332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g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.4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9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0 -29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n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.4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25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150 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7297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n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5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70 metros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450Mbps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74401"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802.11ac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5Ghz</a:t>
                      </a:r>
                    </a:p>
                  </a:txBody>
                  <a:tcPr marL="13278" marR="13278" marT="13278" marB="13278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até 125 metros (amplificado)</a:t>
                      </a:r>
                    </a:p>
                  </a:txBody>
                  <a:tcPr marL="13731" marR="13731" marT="13731" marB="13731" anchor="ctr"/>
                </a:tc>
                <a:tc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tx1"/>
                          </a:solidFill>
                          <a:effectLst/>
                          <a:latin typeface="Gotham HTF"/>
                        </a:rPr>
                        <a:t>210 Mbps - 1 G</a:t>
                      </a:r>
                    </a:p>
                  </a:txBody>
                  <a:tcPr marL="13278" marR="13278" marT="13278" marB="13278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471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curta distância</a:t>
            </a:r>
          </a:p>
        </p:txBody>
      </p:sp>
      <p:grpSp>
        <p:nvGrpSpPr>
          <p:cNvPr id="4" name="Groupe 67">
            <a:extLst>
              <a:ext uri="{FF2B5EF4-FFF2-40B4-BE49-F238E27FC236}">
                <a16:creationId xmlns:a16="http://schemas.microsoft.com/office/drawing/2014/main" id="{D028A438-8B63-BAB4-5448-7E8D485B9283}"/>
              </a:ext>
            </a:extLst>
          </p:cNvPr>
          <p:cNvGrpSpPr/>
          <p:nvPr/>
        </p:nvGrpSpPr>
        <p:grpSpPr>
          <a:xfrm>
            <a:off x="3188174" y="2898650"/>
            <a:ext cx="5865898" cy="830997"/>
            <a:chOff x="4682269" y="1521622"/>
            <a:chExt cx="7556108" cy="1107997"/>
          </a:xfrm>
        </p:grpSpPr>
        <p:cxnSp>
          <p:nvCxnSpPr>
            <p:cNvPr id="5" name="Straight Connector 43">
              <a:extLst>
                <a:ext uri="{FF2B5EF4-FFF2-40B4-BE49-F238E27FC236}">
                  <a16:creationId xmlns:a16="http://schemas.microsoft.com/office/drawing/2014/main" id="{7E3C94CE-B375-8769-1CF4-7201F451B3FE}"/>
                </a:ext>
              </a:extLst>
            </p:cNvPr>
            <p:cNvCxnSpPr>
              <a:cxnSpLocks/>
            </p:cNvCxnSpPr>
            <p:nvPr/>
          </p:nvCxnSpPr>
          <p:spPr>
            <a:xfrm>
              <a:off x="4682269" y="2075618"/>
              <a:ext cx="2315297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82">
              <a:extLst>
                <a:ext uri="{FF2B5EF4-FFF2-40B4-BE49-F238E27FC236}">
                  <a16:creationId xmlns:a16="http://schemas.microsoft.com/office/drawing/2014/main" id="{1D332873-2D99-5506-FFAE-502D644A3039}"/>
                </a:ext>
              </a:extLst>
            </p:cNvPr>
            <p:cNvSpPr txBox="1"/>
            <p:nvPr/>
          </p:nvSpPr>
          <p:spPr>
            <a:xfrm>
              <a:off x="7150600" y="1521622"/>
              <a:ext cx="5087777" cy="1107997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1"/>
                  </a:solidFill>
                  <a:latin typeface="Gotham HTF"/>
                </a:rPr>
                <a:t>CLASSE 1</a:t>
              </a:r>
            </a:p>
            <a:p>
              <a:r>
                <a:rPr lang="pt-BR" sz="1600" dirty="0">
                  <a:latin typeface="Gotham HTF"/>
                </a:rPr>
                <a:t>Potência máxima de 100 mW, alcance de até 100 metros</a:t>
              </a:r>
            </a:p>
          </p:txBody>
        </p:sp>
      </p:grpSp>
      <p:grpSp>
        <p:nvGrpSpPr>
          <p:cNvPr id="7" name="Groupe 63">
            <a:extLst>
              <a:ext uri="{FF2B5EF4-FFF2-40B4-BE49-F238E27FC236}">
                <a16:creationId xmlns:a16="http://schemas.microsoft.com/office/drawing/2014/main" id="{25B677A3-9CD3-A300-8561-76B2D0DCDA5D}"/>
              </a:ext>
            </a:extLst>
          </p:cNvPr>
          <p:cNvGrpSpPr/>
          <p:nvPr/>
        </p:nvGrpSpPr>
        <p:grpSpPr>
          <a:xfrm>
            <a:off x="2518569" y="3670565"/>
            <a:ext cx="5978375" cy="584775"/>
            <a:chOff x="3981484" y="2561063"/>
            <a:chExt cx="7700994" cy="779701"/>
          </a:xfrm>
        </p:grpSpPr>
        <p:cxnSp>
          <p:nvCxnSpPr>
            <p:cNvPr id="8" name="Straight Connector 43">
              <a:extLst>
                <a:ext uri="{FF2B5EF4-FFF2-40B4-BE49-F238E27FC236}">
                  <a16:creationId xmlns:a16="http://schemas.microsoft.com/office/drawing/2014/main" id="{D95BE5B8-F913-8B70-385B-A94748248B93}"/>
                </a:ext>
              </a:extLst>
            </p:cNvPr>
            <p:cNvCxnSpPr>
              <a:cxnSpLocks/>
            </p:cNvCxnSpPr>
            <p:nvPr/>
          </p:nvCxnSpPr>
          <p:spPr>
            <a:xfrm>
              <a:off x="3981484" y="2950911"/>
              <a:ext cx="1657316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82">
              <a:extLst>
                <a:ext uri="{FF2B5EF4-FFF2-40B4-BE49-F238E27FC236}">
                  <a16:creationId xmlns:a16="http://schemas.microsoft.com/office/drawing/2014/main" id="{72E5CB2D-5464-C069-DB14-B876B0949D42}"/>
                </a:ext>
              </a:extLst>
            </p:cNvPr>
            <p:cNvSpPr txBox="1"/>
            <p:nvPr/>
          </p:nvSpPr>
          <p:spPr>
            <a:xfrm>
              <a:off x="5812536" y="2561063"/>
              <a:ext cx="5869942" cy="77970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2"/>
                  </a:solidFill>
                  <a:latin typeface="Gotham HTF"/>
                </a:rPr>
                <a:t>CLASSE 2</a:t>
              </a:r>
            </a:p>
            <a:p>
              <a:r>
                <a:rPr lang="pt-BR" sz="1600" dirty="0">
                  <a:latin typeface="Gotham HTF"/>
                </a:rPr>
                <a:t>Potência máxima de 2,5 mW, alcance de até 10 metros</a:t>
              </a:r>
            </a:p>
          </p:txBody>
        </p:sp>
      </p:grpSp>
      <p:grpSp>
        <p:nvGrpSpPr>
          <p:cNvPr id="11" name="Groupe 64">
            <a:extLst>
              <a:ext uri="{FF2B5EF4-FFF2-40B4-BE49-F238E27FC236}">
                <a16:creationId xmlns:a16="http://schemas.microsoft.com/office/drawing/2014/main" id="{C1519C78-CCBB-A5EF-FFFB-AB0F569B33F2}"/>
              </a:ext>
            </a:extLst>
          </p:cNvPr>
          <p:cNvGrpSpPr/>
          <p:nvPr/>
        </p:nvGrpSpPr>
        <p:grpSpPr>
          <a:xfrm>
            <a:off x="2182091" y="4319370"/>
            <a:ext cx="5978375" cy="584775"/>
            <a:chOff x="3532846" y="3323677"/>
            <a:chExt cx="7700994" cy="779701"/>
          </a:xfrm>
        </p:grpSpPr>
        <p:cxnSp>
          <p:nvCxnSpPr>
            <p:cNvPr id="16" name="Straight Connector 43">
              <a:extLst>
                <a:ext uri="{FF2B5EF4-FFF2-40B4-BE49-F238E27FC236}">
                  <a16:creationId xmlns:a16="http://schemas.microsoft.com/office/drawing/2014/main" id="{C1B07250-03A0-4BEA-8D3E-720CF28A9A77}"/>
                </a:ext>
              </a:extLst>
            </p:cNvPr>
            <p:cNvCxnSpPr>
              <a:cxnSpLocks/>
            </p:cNvCxnSpPr>
            <p:nvPr/>
          </p:nvCxnSpPr>
          <p:spPr>
            <a:xfrm>
              <a:off x="3532846" y="3713525"/>
              <a:ext cx="1657316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82">
              <a:extLst>
                <a:ext uri="{FF2B5EF4-FFF2-40B4-BE49-F238E27FC236}">
                  <a16:creationId xmlns:a16="http://schemas.microsoft.com/office/drawing/2014/main" id="{0F5143DA-0E01-FDFA-B53D-3C640D0CA356}"/>
                </a:ext>
              </a:extLst>
            </p:cNvPr>
            <p:cNvSpPr txBox="1"/>
            <p:nvPr/>
          </p:nvSpPr>
          <p:spPr>
            <a:xfrm>
              <a:off x="5363898" y="3323677"/>
              <a:ext cx="5869942" cy="77970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3"/>
                  </a:solidFill>
                  <a:latin typeface="Gotham HTF"/>
                </a:rPr>
                <a:t>CLASSE 3</a:t>
              </a:r>
            </a:p>
            <a:p>
              <a:r>
                <a:rPr lang="pt-BR" sz="1600" dirty="0">
                  <a:latin typeface="Gotham HTF"/>
                </a:rPr>
                <a:t>Potência máxima de 1 mW, alcance de até 1 metro;</a:t>
              </a:r>
            </a:p>
          </p:txBody>
        </p:sp>
      </p:grpSp>
      <p:grpSp>
        <p:nvGrpSpPr>
          <p:cNvPr id="18" name="Groupe 65">
            <a:extLst>
              <a:ext uri="{FF2B5EF4-FFF2-40B4-BE49-F238E27FC236}">
                <a16:creationId xmlns:a16="http://schemas.microsoft.com/office/drawing/2014/main" id="{D799D46C-1C91-E0AB-10D6-81B19CA456BB}"/>
              </a:ext>
            </a:extLst>
          </p:cNvPr>
          <p:cNvGrpSpPr/>
          <p:nvPr/>
        </p:nvGrpSpPr>
        <p:grpSpPr>
          <a:xfrm>
            <a:off x="2060015" y="4968175"/>
            <a:ext cx="5860865" cy="584775"/>
            <a:chOff x="3277653" y="3988407"/>
            <a:chExt cx="7549624" cy="779701"/>
          </a:xfrm>
        </p:grpSpPr>
        <p:cxnSp>
          <p:nvCxnSpPr>
            <p:cNvPr id="19" name="Straight Connector 43">
              <a:extLst>
                <a:ext uri="{FF2B5EF4-FFF2-40B4-BE49-F238E27FC236}">
                  <a16:creationId xmlns:a16="http://schemas.microsoft.com/office/drawing/2014/main" id="{91030DDC-BB04-B724-E84C-D52DA38552AA}"/>
                </a:ext>
              </a:extLst>
            </p:cNvPr>
            <p:cNvCxnSpPr>
              <a:cxnSpLocks/>
            </p:cNvCxnSpPr>
            <p:nvPr/>
          </p:nvCxnSpPr>
          <p:spPr>
            <a:xfrm>
              <a:off x="3277653" y="4378255"/>
              <a:ext cx="1149423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82">
              <a:extLst>
                <a:ext uri="{FF2B5EF4-FFF2-40B4-BE49-F238E27FC236}">
                  <a16:creationId xmlns:a16="http://schemas.microsoft.com/office/drawing/2014/main" id="{F68EDC5D-1ACF-08FC-44A1-147E06C3ECFA}"/>
                </a:ext>
              </a:extLst>
            </p:cNvPr>
            <p:cNvSpPr txBox="1"/>
            <p:nvPr/>
          </p:nvSpPr>
          <p:spPr>
            <a:xfrm>
              <a:off x="4640584" y="3988407"/>
              <a:ext cx="6186693" cy="77970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pt-BR" sz="1600" b="1" dirty="0">
                  <a:solidFill>
                    <a:schemeClr val="accent4"/>
                  </a:solidFill>
                  <a:latin typeface="Gotham HTF"/>
                </a:rPr>
                <a:t>CLASSE 4</a:t>
              </a:r>
            </a:p>
            <a:p>
              <a:r>
                <a:rPr lang="pt-BR" sz="1600" dirty="0">
                  <a:latin typeface="Gotham HTF"/>
                </a:rPr>
                <a:t>Potência máxima de 0,5 mW, alcance de até meio metro;</a:t>
              </a:r>
            </a:p>
          </p:txBody>
        </p:sp>
      </p:grpSp>
      <p:grpSp>
        <p:nvGrpSpPr>
          <p:cNvPr id="21" name="Groupe 66">
            <a:extLst>
              <a:ext uri="{FF2B5EF4-FFF2-40B4-BE49-F238E27FC236}">
                <a16:creationId xmlns:a16="http://schemas.microsoft.com/office/drawing/2014/main" id="{0D02F756-7A7E-7DB0-92DA-DB9E75725E3D}"/>
              </a:ext>
            </a:extLst>
          </p:cNvPr>
          <p:cNvGrpSpPr>
            <a:grpSpLocks noChangeAspect="1"/>
          </p:cNvGrpSpPr>
          <p:nvPr/>
        </p:nvGrpSpPr>
        <p:grpSpPr>
          <a:xfrm>
            <a:off x="89927" y="2742507"/>
            <a:ext cx="3244809" cy="3422797"/>
            <a:chOff x="670530" y="951978"/>
            <a:chExt cx="4471938" cy="4717238"/>
          </a:xfrm>
        </p:grpSpPr>
        <p:grpSp>
          <p:nvGrpSpPr>
            <p:cNvPr id="22" name="Group 4">
              <a:extLst>
                <a:ext uri="{FF2B5EF4-FFF2-40B4-BE49-F238E27FC236}">
                  <a16:creationId xmlns:a16="http://schemas.microsoft.com/office/drawing/2014/main" id="{B395C4D1-67B0-B035-5BA6-203E0B54FF1C}"/>
                </a:ext>
              </a:extLst>
            </p:cNvPr>
            <p:cNvGrpSpPr/>
            <p:nvPr/>
          </p:nvGrpSpPr>
          <p:grpSpPr>
            <a:xfrm>
              <a:off x="670530" y="951978"/>
              <a:ext cx="4471938" cy="4717238"/>
              <a:chOff x="1262649" y="2190351"/>
              <a:chExt cx="3287700" cy="3468041"/>
            </a:xfrm>
          </p:grpSpPr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CDBD0BF9-99E6-F8FF-61ED-E150EAD2F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242" y="5476642"/>
                <a:ext cx="651359" cy="181750"/>
              </a:xfrm>
              <a:custGeom>
                <a:avLst/>
                <a:gdLst>
                  <a:gd name="T0" fmla="*/ 1083 w 1083"/>
                  <a:gd name="T1" fmla="*/ 85 h 170"/>
                  <a:gd name="T2" fmla="*/ 542 w 1083"/>
                  <a:gd name="T3" fmla="*/ 170 h 170"/>
                  <a:gd name="T4" fmla="*/ 0 w 1083"/>
                  <a:gd name="T5" fmla="*/ 85 h 170"/>
                  <a:gd name="T6" fmla="*/ 542 w 1083"/>
                  <a:gd name="T7" fmla="*/ 0 h 170"/>
                  <a:gd name="T8" fmla="*/ 1083 w 1083"/>
                  <a:gd name="T9" fmla="*/ 8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3" h="170">
                    <a:moveTo>
                      <a:pt x="1083" y="85"/>
                    </a:moveTo>
                    <a:cubicBezTo>
                      <a:pt x="1083" y="135"/>
                      <a:pt x="822" y="170"/>
                      <a:pt x="542" y="170"/>
                    </a:cubicBezTo>
                    <a:cubicBezTo>
                      <a:pt x="242" y="170"/>
                      <a:pt x="0" y="132"/>
                      <a:pt x="0" y="85"/>
                    </a:cubicBezTo>
                    <a:cubicBezTo>
                      <a:pt x="0" y="38"/>
                      <a:pt x="242" y="0"/>
                      <a:pt x="542" y="0"/>
                    </a:cubicBezTo>
                    <a:cubicBezTo>
                      <a:pt x="841" y="0"/>
                      <a:pt x="1083" y="38"/>
                      <a:pt x="1083" y="85"/>
                    </a:cubicBezTo>
                  </a:path>
                </a:pathLst>
              </a:custGeom>
              <a:solidFill>
                <a:srgbClr val="F2F2F2">
                  <a:alpha val="69804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350" b="1" dirty="0"/>
              </a:p>
            </p:txBody>
          </p:sp>
          <p:grpSp>
            <p:nvGrpSpPr>
              <p:cNvPr id="28" name="Group 3">
                <a:extLst>
                  <a:ext uri="{FF2B5EF4-FFF2-40B4-BE49-F238E27FC236}">
                    <a16:creationId xmlns:a16="http://schemas.microsoft.com/office/drawing/2014/main" id="{90DE7CC1-66A9-8C7F-1BC6-96F04703CD94}"/>
                  </a:ext>
                </a:extLst>
              </p:cNvPr>
              <p:cNvGrpSpPr/>
              <p:nvPr/>
            </p:nvGrpSpPr>
            <p:grpSpPr>
              <a:xfrm>
                <a:off x="2651525" y="4876246"/>
                <a:ext cx="519599" cy="697470"/>
                <a:chOff x="3046615" y="4922864"/>
                <a:chExt cx="705977" cy="947650"/>
              </a:xfrm>
            </p:grpSpPr>
            <p:grpSp>
              <p:nvGrpSpPr>
                <p:cNvPr id="41" name="Group 22">
                  <a:extLst>
                    <a:ext uri="{FF2B5EF4-FFF2-40B4-BE49-F238E27FC236}">
                      <a16:creationId xmlns:a16="http://schemas.microsoft.com/office/drawing/2014/main" id="{B1D64CE4-F5A4-FA01-C15E-3FC7869DAB91}"/>
                    </a:ext>
                  </a:extLst>
                </p:cNvPr>
                <p:cNvGrpSpPr/>
                <p:nvPr/>
              </p:nvGrpSpPr>
              <p:grpSpPr>
                <a:xfrm>
                  <a:off x="3063057" y="4998419"/>
                  <a:ext cx="689535" cy="872095"/>
                  <a:chOff x="1639547" y="5404524"/>
                  <a:chExt cx="630177" cy="797022"/>
                </a:xfrm>
              </p:grpSpPr>
              <p:sp>
                <p:nvSpPr>
                  <p:cNvPr id="44" name="Freeform 8">
                    <a:extLst>
                      <a:ext uri="{FF2B5EF4-FFF2-40B4-BE49-F238E27FC236}">
                        <a16:creationId xmlns:a16="http://schemas.microsoft.com/office/drawing/2014/main" id="{D6BDFA99-A30B-3095-A210-9AA5764289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556125" y="5487946"/>
                    <a:ext cx="797022" cy="630177"/>
                  </a:xfrm>
                  <a:custGeom>
                    <a:avLst/>
                    <a:gdLst>
                      <a:gd name="T0" fmla="*/ 793 w 939"/>
                      <a:gd name="T1" fmla="*/ 650 h 650"/>
                      <a:gd name="T2" fmla="*/ 0 w 939"/>
                      <a:gd name="T3" fmla="*/ 326 h 650"/>
                      <a:gd name="T4" fmla="*/ 793 w 939"/>
                      <a:gd name="T5" fmla="*/ 0 h 650"/>
                      <a:gd name="T6" fmla="*/ 939 w 939"/>
                      <a:gd name="T7" fmla="*/ 0 h 650"/>
                      <a:gd name="T8" fmla="*/ 939 w 939"/>
                      <a:gd name="T9" fmla="*/ 650 h 650"/>
                      <a:gd name="T10" fmla="*/ 793 w 939"/>
                      <a:gd name="T11" fmla="*/ 650 h 650"/>
                      <a:gd name="connsiteX0" fmla="*/ 8445 w 10000"/>
                      <a:gd name="connsiteY0" fmla="*/ 10000 h 10000"/>
                      <a:gd name="connsiteX1" fmla="*/ 0 w 10000"/>
                      <a:gd name="connsiteY1" fmla="*/ 5015 h 10000"/>
                      <a:gd name="connsiteX2" fmla="*/ 8445 w 10000"/>
                      <a:gd name="connsiteY2" fmla="*/ 0 h 10000"/>
                      <a:gd name="connsiteX3" fmla="*/ 8755 w 10000"/>
                      <a:gd name="connsiteY3" fmla="*/ 92 h 10000"/>
                      <a:gd name="connsiteX4" fmla="*/ 10000 w 10000"/>
                      <a:gd name="connsiteY4" fmla="*/ 10000 h 10000"/>
                      <a:gd name="connsiteX5" fmla="*/ 8445 w 10000"/>
                      <a:gd name="connsiteY5" fmla="*/ 10000 h 10000"/>
                      <a:gd name="connsiteX0" fmla="*/ 8445 w 8755"/>
                      <a:gd name="connsiteY0" fmla="*/ 10000 h 10000"/>
                      <a:gd name="connsiteX1" fmla="*/ 0 w 8755"/>
                      <a:gd name="connsiteY1" fmla="*/ 5015 h 10000"/>
                      <a:gd name="connsiteX2" fmla="*/ 8445 w 8755"/>
                      <a:gd name="connsiteY2" fmla="*/ 0 h 10000"/>
                      <a:gd name="connsiteX3" fmla="*/ 8755 w 8755"/>
                      <a:gd name="connsiteY3" fmla="*/ 92 h 10000"/>
                      <a:gd name="connsiteX4" fmla="*/ 8666 w 8755"/>
                      <a:gd name="connsiteY4" fmla="*/ 9708 h 10000"/>
                      <a:gd name="connsiteX5" fmla="*/ 8445 w 8755"/>
                      <a:gd name="connsiteY5" fmla="*/ 1000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755" h="10000">
                        <a:moveTo>
                          <a:pt x="8445" y="10000"/>
                        </a:moveTo>
                        <a:lnTo>
                          <a:pt x="0" y="5015"/>
                        </a:lnTo>
                        <a:lnTo>
                          <a:pt x="8445" y="0"/>
                        </a:lnTo>
                        <a:lnTo>
                          <a:pt x="8755" y="92"/>
                        </a:lnTo>
                        <a:cubicBezTo>
                          <a:pt x="8725" y="3297"/>
                          <a:pt x="8696" y="6503"/>
                          <a:pt x="8666" y="9708"/>
                        </a:cubicBezTo>
                        <a:cubicBezTo>
                          <a:pt x="8592" y="9805"/>
                          <a:pt x="8519" y="9903"/>
                          <a:pt x="8445" y="10000"/>
                        </a:cubicBezTo>
                        <a:close/>
                      </a:path>
                    </a:pathLst>
                  </a:custGeom>
                  <a:solidFill>
                    <a:srgbClr val="D9D9D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  <p:sp>
                <p:nvSpPr>
                  <p:cNvPr id="45" name="Freeform 22">
                    <a:extLst>
                      <a:ext uri="{FF2B5EF4-FFF2-40B4-BE49-F238E27FC236}">
                        <a16:creationId xmlns:a16="http://schemas.microsoft.com/office/drawing/2014/main" id="{EC649050-C025-C101-37DA-0C3FEFD851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rot="16110804">
                    <a:off x="1831665" y="5968751"/>
                    <a:ext cx="261766" cy="203596"/>
                  </a:xfrm>
                  <a:custGeom>
                    <a:avLst/>
                    <a:gdLst>
                      <a:gd name="T0" fmla="*/ 114 w 114"/>
                      <a:gd name="T1" fmla="*/ 49 h 88"/>
                      <a:gd name="T2" fmla="*/ 107 w 114"/>
                      <a:gd name="T3" fmla="*/ 0 h 88"/>
                      <a:gd name="T4" fmla="*/ 0 w 114"/>
                      <a:gd name="T5" fmla="*/ 44 h 88"/>
                      <a:gd name="T6" fmla="*/ 109 w 114"/>
                      <a:gd name="T7" fmla="*/ 88 h 88"/>
                      <a:gd name="T8" fmla="*/ 114 w 114"/>
                      <a:gd name="T9" fmla="*/ 49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" h="88">
                        <a:moveTo>
                          <a:pt x="114" y="49"/>
                        </a:moveTo>
                        <a:cubicBezTo>
                          <a:pt x="114" y="32"/>
                          <a:pt x="111" y="15"/>
                          <a:pt x="107" y="0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109" y="88"/>
                          <a:pt x="109" y="88"/>
                          <a:pt x="109" y="88"/>
                        </a:cubicBezTo>
                        <a:cubicBezTo>
                          <a:pt x="112" y="76"/>
                          <a:pt x="114" y="63"/>
                          <a:pt x="114" y="49"/>
                        </a:cubicBezTo>
                        <a:close/>
                      </a:path>
                    </a:pathLst>
                  </a:cu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 sz="900" dirty="0"/>
                  </a:p>
                </p:txBody>
              </p:sp>
            </p:grpSp>
            <p:sp>
              <p:nvSpPr>
                <p:cNvPr id="42" name="Oval 39">
                  <a:extLst>
                    <a:ext uri="{FF2B5EF4-FFF2-40B4-BE49-F238E27FC236}">
                      <a16:creationId xmlns:a16="http://schemas.microsoft.com/office/drawing/2014/main" id="{F76E527F-E1EE-6E80-84D1-268FEE26E2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58273" y="4967833"/>
                  <a:ext cx="517984" cy="98267"/>
                </a:xfrm>
                <a:prstGeom prst="ellipse">
                  <a:avLst/>
                </a:pr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43" name="Freeform 41">
                  <a:extLst>
                    <a:ext uri="{FF2B5EF4-FFF2-40B4-BE49-F238E27FC236}">
                      <a16:creationId xmlns:a16="http://schemas.microsoft.com/office/drawing/2014/main" id="{DED64A0B-431C-2106-540B-B1C4F63D891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6615" y="4922864"/>
                  <a:ext cx="701193" cy="188206"/>
                </a:xfrm>
                <a:custGeom>
                  <a:avLst/>
                  <a:gdLst>
                    <a:gd name="T0" fmla="*/ 163 w 323"/>
                    <a:gd name="T1" fmla="*/ 87 h 87"/>
                    <a:gd name="T2" fmla="*/ 19 w 323"/>
                    <a:gd name="T3" fmla="*/ 64 h 87"/>
                    <a:gd name="T4" fmla="*/ 1 w 323"/>
                    <a:gd name="T5" fmla="*/ 40 h 87"/>
                    <a:gd name="T6" fmla="*/ 92 w 323"/>
                    <a:gd name="T7" fmla="*/ 4 h 87"/>
                    <a:gd name="T8" fmla="*/ 161 w 323"/>
                    <a:gd name="T9" fmla="*/ 0 h 87"/>
                    <a:gd name="T10" fmla="*/ 304 w 323"/>
                    <a:gd name="T11" fmla="*/ 23 h 87"/>
                    <a:gd name="T12" fmla="*/ 322 w 323"/>
                    <a:gd name="T13" fmla="*/ 46 h 87"/>
                    <a:gd name="T14" fmla="*/ 231 w 323"/>
                    <a:gd name="T15" fmla="*/ 83 h 87"/>
                    <a:gd name="T16" fmla="*/ 163 w 323"/>
                    <a:gd name="T17" fmla="*/ 87 h 87"/>
                    <a:gd name="T18" fmla="*/ 161 w 323"/>
                    <a:gd name="T19" fmla="*/ 27 h 87"/>
                    <a:gd name="T20" fmla="*/ 128 w 323"/>
                    <a:gd name="T21" fmla="*/ 29 h 87"/>
                    <a:gd name="T22" fmla="*/ 88 w 323"/>
                    <a:gd name="T23" fmla="*/ 43 h 87"/>
                    <a:gd name="T24" fmla="*/ 94 w 323"/>
                    <a:gd name="T25" fmla="*/ 49 h 87"/>
                    <a:gd name="T26" fmla="*/ 162 w 323"/>
                    <a:gd name="T27" fmla="*/ 60 h 87"/>
                    <a:gd name="T28" fmla="*/ 195 w 323"/>
                    <a:gd name="T29" fmla="*/ 58 h 87"/>
                    <a:gd name="T30" fmla="*/ 235 w 323"/>
                    <a:gd name="T31" fmla="*/ 44 h 87"/>
                    <a:gd name="T32" fmla="*/ 229 w 323"/>
                    <a:gd name="T33" fmla="*/ 38 h 87"/>
                    <a:gd name="T34" fmla="*/ 161 w 323"/>
                    <a:gd name="T35" fmla="*/ 2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3" h="87">
                      <a:moveTo>
                        <a:pt x="163" y="87"/>
                      </a:moveTo>
                      <a:cubicBezTo>
                        <a:pt x="101" y="87"/>
                        <a:pt x="46" y="78"/>
                        <a:pt x="19" y="64"/>
                      </a:cubicBezTo>
                      <a:cubicBezTo>
                        <a:pt x="2" y="55"/>
                        <a:pt x="0" y="46"/>
                        <a:pt x="1" y="40"/>
                      </a:cubicBezTo>
                      <a:cubicBezTo>
                        <a:pt x="5" y="24"/>
                        <a:pt x="39" y="11"/>
                        <a:pt x="92" y="4"/>
                      </a:cubicBezTo>
                      <a:cubicBezTo>
                        <a:pt x="114" y="1"/>
                        <a:pt x="137" y="0"/>
                        <a:pt x="161" y="0"/>
                      </a:cubicBezTo>
                      <a:cubicBezTo>
                        <a:pt x="222" y="0"/>
                        <a:pt x="277" y="9"/>
                        <a:pt x="304" y="23"/>
                      </a:cubicBezTo>
                      <a:cubicBezTo>
                        <a:pt x="321" y="32"/>
                        <a:pt x="323" y="41"/>
                        <a:pt x="322" y="46"/>
                      </a:cubicBezTo>
                      <a:cubicBezTo>
                        <a:pt x="318" y="63"/>
                        <a:pt x="284" y="76"/>
                        <a:pt x="231" y="83"/>
                      </a:cubicBezTo>
                      <a:cubicBezTo>
                        <a:pt x="209" y="85"/>
                        <a:pt x="186" y="87"/>
                        <a:pt x="163" y="87"/>
                      </a:cubicBezTo>
                      <a:close/>
                      <a:moveTo>
                        <a:pt x="161" y="27"/>
                      </a:moveTo>
                      <a:cubicBezTo>
                        <a:pt x="149" y="27"/>
                        <a:pt x="138" y="28"/>
                        <a:pt x="128" y="29"/>
                      </a:cubicBezTo>
                      <a:cubicBezTo>
                        <a:pt x="100" y="32"/>
                        <a:pt x="89" y="39"/>
                        <a:pt x="88" y="43"/>
                      </a:cubicBezTo>
                      <a:cubicBezTo>
                        <a:pt x="87" y="45"/>
                        <a:pt x="90" y="47"/>
                        <a:pt x="94" y="49"/>
                      </a:cubicBezTo>
                      <a:cubicBezTo>
                        <a:pt x="106" y="55"/>
                        <a:pt x="133" y="60"/>
                        <a:pt x="162" y="60"/>
                      </a:cubicBezTo>
                      <a:cubicBezTo>
                        <a:pt x="174" y="60"/>
                        <a:pt x="185" y="59"/>
                        <a:pt x="195" y="58"/>
                      </a:cubicBezTo>
                      <a:cubicBezTo>
                        <a:pt x="223" y="54"/>
                        <a:pt x="235" y="48"/>
                        <a:pt x="235" y="44"/>
                      </a:cubicBezTo>
                      <a:cubicBezTo>
                        <a:pt x="236" y="42"/>
                        <a:pt x="234" y="40"/>
                        <a:pt x="229" y="38"/>
                      </a:cubicBezTo>
                      <a:cubicBezTo>
                        <a:pt x="217" y="31"/>
                        <a:pt x="190" y="27"/>
                        <a:pt x="161" y="27"/>
                      </a:cubicBez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sp>
            <p:nvSpPr>
              <p:cNvPr id="29" name="Freeform 42">
                <a:extLst>
                  <a:ext uri="{FF2B5EF4-FFF2-40B4-BE49-F238E27FC236}">
                    <a16:creationId xmlns:a16="http://schemas.microsoft.com/office/drawing/2014/main" id="{178CDD0B-5B0C-31A0-3B33-60C4DBB46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9516" y="4372345"/>
                <a:ext cx="1186612" cy="518530"/>
              </a:xfrm>
              <a:custGeom>
                <a:avLst/>
                <a:gdLst>
                  <a:gd name="T0" fmla="*/ 153 w 744"/>
                  <a:gd name="T1" fmla="*/ 269 h 325"/>
                  <a:gd name="T2" fmla="*/ 0 w 744"/>
                  <a:gd name="T3" fmla="*/ 0 h 325"/>
                  <a:gd name="T4" fmla="*/ 35 w 744"/>
                  <a:gd name="T5" fmla="*/ 28 h 325"/>
                  <a:gd name="T6" fmla="*/ 537 w 744"/>
                  <a:gd name="T7" fmla="*/ 72 h 325"/>
                  <a:gd name="T8" fmla="*/ 744 w 744"/>
                  <a:gd name="T9" fmla="*/ 1 h 325"/>
                  <a:gd name="T10" fmla="*/ 589 w 744"/>
                  <a:gd name="T11" fmla="*/ 270 h 325"/>
                  <a:gd name="T12" fmla="*/ 468 w 744"/>
                  <a:gd name="T13" fmla="*/ 311 h 325"/>
                  <a:gd name="T14" fmla="*/ 174 w 744"/>
                  <a:gd name="T15" fmla="*/ 286 h 325"/>
                  <a:gd name="T16" fmla="*/ 153 w 744"/>
                  <a:gd name="T17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4" h="325">
                    <a:moveTo>
                      <a:pt x="153" y="26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10"/>
                      <a:pt x="17" y="19"/>
                      <a:pt x="35" y="28"/>
                    </a:cubicBezTo>
                    <a:cubicBezTo>
                      <a:pt x="126" y="75"/>
                      <a:pt x="351" y="95"/>
                      <a:pt x="537" y="72"/>
                    </a:cubicBezTo>
                    <a:cubicBezTo>
                      <a:pt x="653" y="58"/>
                      <a:pt x="727" y="31"/>
                      <a:pt x="744" y="1"/>
                    </a:cubicBezTo>
                    <a:cubicBezTo>
                      <a:pt x="589" y="270"/>
                      <a:pt x="589" y="270"/>
                      <a:pt x="589" y="270"/>
                    </a:cubicBezTo>
                    <a:cubicBezTo>
                      <a:pt x="579" y="287"/>
                      <a:pt x="536" y="303"/>
                      <a:pt x="468" y="311"/>
                    </a:cubicBezTo>
                    <a:cubicBezTo>
                      <a:pt x="359" y="325"/>
                      <a:pt x="227" y="313"/>
                      <a:pt x="174" y="286"/>
                    </a:cubicBezTo>
                    <a:cubicBezTo>
                      <a:pt x="163" y="280"/>
                      <a:pt x="156" y="275"/>
                      <a:pt x="153" y="269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30" name="Freeform 43">
                <a:extLst>
                  <a:ext uri="{FF2B5EF4-FFF2-40B4-BE49-F238E27FC236}">
                    <a16:creationId xmlns:a16="http://schemas.microsoft.com/office/drawing/2014/main" id="{BEF3D550-82F8-B9D5-6DEE-5EBDC0EDE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225" y="4189695"/>
                <a:ext cx="1230743" cy="324847"/>
              </a:xfrm>
              <a:custGeom>
                <a:avLst/>
                <a:gdLst>
                  <a:gd name="T0" fmla="*/ 389 w 771"/>
                  <a:gd name="T1" fmla="*/ 203 h 203"/>
                  <a:gd name="T2" fmla="*/ 45 w 771"/>
                  <a:gd name="T3" fmla="*/ 148 h 203"/>
                  <a:gd name="T4" fmla="*/ 3 w 771"/>
                  <a:gd name="T5" fmla="*/ 95 h 203"/>
                  <a:gd name="T6" fmla="*/ 220 w 771"/>
                  <a:gd name="T7" fmla="*/ 10 h 203"/>
                  <a:gd name="T8" fmla="*/ 383 w 771"/>
                  <a:gd name="T9" fmla="*/ 0 h 203"/>
                  <a:gd name="T10" fmla="*/ 727 w 771"/>
                  <a:gd name="T11" fmla="*/ 54 h 203"/>
                  <a:gd name="T12" fmla="*/ 769 w 771"/>
                  <a:gd name="T13" fmla="*/ 108 h 203"/>
                  <a:gd name="T14" fmla="*/ 552 w 771"/>
                  <a:gd name="T15" fmla="*/ 193 h 203"/>
                  <a:gd name="T16" fmla="*/ 389 w 771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1" h="203">
                    <a:moveTo>
                      <a:pt x="389" y="203"/>
                    </a:moveTo>
                    <a:cubicBezTo>
                      <a:pt x="242" y="203"/>
                      <a:pt x="110" y="182"/>
                      <a:pt x="45" y="148"/>
                    </a:cubicBezTo>
                    <a:cubicBezTo>
                      <a:pt x="5" y="128"/>
                      <a:pt x="0" y="108"/>
                      <a:pt x="3" y="95"/>
                    </a:cubicBezTo>
                    <a:cubicBezTo>
                      <a:pt x="11" y="57"/>
                      <a:pt x="92" y="25"/>
                      <a:pt x="220" y="10"/>
                    </a:cubicBezTo>
                    <a:cubicBezTo>
                      <a:pt x="271" y="3"/>
                      <a:pt x="326" y="0"/>
                      <a:pt x="383" y="0"/>
                    </a:cubicBezTo>
                    <a:cubicBezTo>
                      <a:pt x="530" y="0"/>
                      <a:pt x="662" y="21"/>
                      <a:pt x="727" y="54"/>
                    </a:cubicBezTo>
                    <a:cubicBezTo>
                      <a:pt x="766" y="75"/>
                      <a:pt x="771" y="95"/>
                      <a:pt x="769" y="108"/>
                    </a:cubicBezTo>
                    <a:cubicBezTo>
                      <a:pt x="760" y="146"/>
                      <a:pt x="680" y="178"/>
                      <a:pt x="552" y="193"/>
                    </a:cubicBezTo>
                    <a:cubicBezTo>
                      <a:pt x="501" y="200"/>
                      <a:pt x="446" y="203"/>
                      <a:pt x="389" y="203"/>
                    </a:cubicBez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31" name="Freeform 45">
                <a:extLst>
                  <a:ext uri="{FF2B5EF4-FFF2-40B4-BE49-F238E27FC236}">
                    <a16:creationId xmlns:a16="http://schemas.microsoft.com/office/drawing/2014/main" id="{8A5DF565-7EB3-20A9-A00C-331216332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7507" y="3852589"/>
                <a:ext cx="1871856" cy="605564"/>
              </a:xfrm>
              <a:custGeom>
                <a:avLst/>
                <a:gdLst>
                  <a:gd name="T0" fmla="*/ 153 w 1173"/>
                  <a:gd name="T1" fmla="*/ 269 h 380"/>
                  <a:gd name="T2" fmla="*/ 0 w 1173"/>
                  <a:gd name="T3" fmla="*/ 0 h 380"/>
                  <a:gd name="T4" fmla="*/ 55 w 1173"/>
                  <a:gd name="T5" fmla="*/ 45 h 380"/>
                  <a:gd name="T6" fmla="*/ 848 w 1173"/>
                  <a:gd name="T7" fmla="*/ 114 h 380"/>
                  <a:gd name="T8" fmla="*/ 1173 w 1173"/>
                  <a:gd name="T9" fmla="*/ 2 h 380"/>
                  <a:gd name="T10" fmla="*/ 1019 w 1173"/>
                  <a:gd name="T11" fmla="*/ 271 h 380"/>
                  <a:gd name="T12" fmla="*/ 779 w 1173"/>
                  <a:gd name="T13" fmla="*/ 353 h 380"/>
                  <a:gd name="T14" fmla="*/ 194 w 1173"/>
                  <a:gd name="T15" fmla="*/ 302 h 380"/>
                  <a:gd name="T16" fmla="*/ 153 w 1173"/>
                  <a:gd name="T17" fmla="*/ 269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3" h="380">
                    <a:moveTo>
                      <a:pt x="153" y="269"/>
                    </a:moveTo>
                    <a:cubicBezTo>
                      <a:pt x="102" y="180"/>
                      <a:pt x="51" y="90"/>
                      <a:pt x="0" y="0"/>
                    </a:cubicBezTo>
                    <a:cubicBezTo>
                      <a:pt x="9" y="16"/>
                      <a:pt x="27" y="31"/>
                      <a:pt x="55" y="45"/>
                    </a:cubicBezTo>
                    <a:cubicBezTo>
                      <a:pt x="199" y="119"/>
                      <a:pt x="554" y="150"/>
                      <a:pt x="848" y="114"/>
                    </a:cubicBezTo>
                    <a:cubicBezTo>
                      <a:pt x="1030" y="92"/>
                      <a:pt x="1146" y="49"/>
                      <a:pt x="1173" y="2"/>
                    </a:cubicBezTo>
                    <a:cubicBezTo>
                      <a:pt x="1019" y="271"/>
                      <a:pt x="1019" y="271"/>
                      <a:pt x="1019" y="271"/>
                    </a:cubicBezTo>
                    <a:cubicBezTo>
                      <a:pt x="999" y="305"/>
                      <a:pt x="913" y="337"/>
                      <a:pt x="779" y="353"/>
                    </a:cubicBezTo>
                    <a:cubicBezTo>
                      <a:pt x="562" y="380"/>
                      <a:pt x="300" y="357"/>
                      <a:pt x="194" y="302"/>
                    </a:cubicBezTo>
                    <a:cubicBezTo>
                      <a:pt x="173" y="292"/>
                      <a:pt x="160" y="281"/>
                      <a:pt x="153" y="26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sp>
            <p:nvSpPr>
              <p:cNvPr id="32" name="Freeform 46">
                <a:extLst>
                  <a:ext uri="{FF2B5EF4-FFF2-40B4-BE49-F238E27FC236}">
                    <a16:creationId xmlns:a16="http://schemas.microsoft.com/office/drawing/2014/main" id="{8BBF8043-648D-09A6-62DB-6C989017A2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0538" y="3571872"/>
                <a:ext cx="1925793" cy="497690"/>
              </a:xfrm>
              <a:custGeom>
                <a:avLst/>
                <a:gdLst>
                  <a:gd name="T0" fmla="*/ 608 w 1207"/>
                  <a:gd name="T1" fmla="*/ 312 h 312"/>
                  <a:gd name="T2" fmla="*/ 68 w 1207"/>
                  <a:gd name="T3" fmla="*/ 227 h 312"/>
                  <a:gd name="T4" fmla="*/ 5 w 1207"/>
                  <a:gd name="T5" fmla="*/ 146 h 312"/>
                  <a:gd name="T6" fmla="*/ 342 w 1207"/>
                  <a:gd name="T7" fmla="*/ 15 h 312"/>
                  <a:gd name="T8" fmla="*/ 600 w 1207"/>
                  <a:gd name="T9" fmla="*/ 0 h 312"/>
                  <a:gd name="T10" fmla="*/ 1139 w 1207"/>
                  <a:gd name="T11" fmla="*/ 86 h 312"/>
                  <a:gd name="T12" fmla="*/ 1203 w 1207"/>
                  <a:gd name="T13" fmla="*/ 166 h 312"/>
                  <a:gd name="T14" fmla="*/ 866 w 1207"/>
                  <a:gd name="T15" fmla="*/ 297 h 312"/>
                  <a:gd name="T16" fmla="*/ 608 w 1207"/>
                  <a:gd name="T17" fmla="*/ 312 h 312"/>
                  <a:gd name="T18" fmla="*/ 603 w 1207"/>
                  <a:gd name="T19" fmla="*/ 124 h 312"/>
                  <a:gd name="T20" fmla="*/ 536 w 1207"/>
                  <a:gd name="T21" fmla="*/ 128 h 312"/>
                  <a:gd name="T22" fmla="*/ 456 w 1207"/>
                  <a:gd name="T23" fmla="*/ 155 h 312"/>
                  <a:gd name="T24" fmla="*/ 468 w 1207"/>
                  <a:gd name="T25" fmla="*/ 167 h 312"/>
                  <a:gd name="T26" fmla="*/ 605 w 1207"/>
                  <a:gd name="T27" fmla="*/ 188 h 312"/>
                  <a:gd name="T28" fmla="*/ 671 w 1207"/>
                  <a:gd name="T29" fmla="*/ 185 h 312"/>
                  <a:gd name="T30" fmla="*/ 752 w 1207"/>
                  <a:gd name="T31" fmla="*/ 157 h 312"/>
                  <a:gd name="T32" fmla="*/ 740 w 1207"/>
                  <a:gd name="T33" fmla="*/ 145 h 312"/>
                  <a:gd name="T34" fmla="*/ 603 w 1207"/>
                  <a:gd name="T35" fmla="*/ 124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7" h="312">
                    <a:moveTo>
                      <a:pt x="608" y="312"/>
                    </a:moveTo>
                    <a:cubicBezTo>
                      <a:pt x="377" y="312"/>
                      <a:pt x="170" y="280"/>
                      <a:pt x="68" y="227"/>
                    </a:cubicBezTo>
                    <a:cubicBezTo>
                      <a:pt x="8" y="196"/>
                      <a:pt x="0" y="166"/>
                      <a:pt x="5" y="146"/>
                    </a:cubicBezTo>
                    <a:cubicBezTo>
                      <a:pt x="17" y="88"/>
                      <a:pt x="143" y="40"/>
                      <a:pt x="342" y="15"/>
                    </a:cubicBezTo>
                    <a:cubicBezTo>
                      <a:pt x="423" y="5"/>
                      <a:pt x="510" y="0"/>
                      <a:pt x="600" y="0"/>
                    </a:cubicBezTo>
                    <a:cubicBezTo>
                      <a:pt x="830" y="0"/>
                      <a:pt x="1037" y="33"/>
                      <a:pt x="1139" y="86"/>
                    </a:cubicBezTo>
                    <a:cubicBezTo>
                      <a:pt x="1200" y="116"/>
                      <a:pt x="1207" y="147"/>
                      <a:pt x="1203" y="166"/>
                    </a:cubicBezTo>
                    <a:cubicBezTo>
                      <a:pt x="1191" y="224"/>
                      <a:pt x="1064" y="273"/>
                      <a:pt x="866" y="297"/>
                    </a:cubicBezTo>
                    <a:cubicBezTo>
                      <a:pt x="784" y="307"/>
                      <a:pt x="698" y="312"/>
                      <a:pt x="608" y="312"/>
                    </a:cubicBezTo>
                    <a:moveTo>
                      <a:pt x="603" y="124"/>
                    </a:moveTo>
                    <a:cubicBezTo>
                      <a:pt x="579" y="124"/>
                      <a:pt x="557" y="125"/>
                      <a:pt x="536" y="128"/>
                    </a:cubicBezTo>
                    <a:cubicBezTo>
                      <a:pt x="480" y="135"/>
                      <a:pt x="457" y="148"/>
                      <a:pt x="456" y="155"/>
                    </a:cubicBezTo>
                    <a:cubicBezTo>
                      <a:pt x="455" y="159"/>
                      <a:pt x="460" y="163"/>
                      <a:pt x="468" y="167"/>
                    </a:cubicBezTo>
                    <a:cubicBezTo>
                      <a:pt x="493" y="180"/>
                      <a:pt x="547" y="188"/>
                      <a:pt x="605" y="188"/>
                    </a:cubicBezTo>
                    <a:cubicBezTo>
                      <a:pt x="628" y="188"/>
                      <a:pt x="650" y="187"/>
                      <a:pt x="671" y="185"/>
                    </a:cubicBezTo>
                    <a:cubicBezTo>
                      <a:pt x="727" y="178"/>
                      <a:pt x="750" y="165"/>
                      <a:pt x="752" y="157"/>
                    </a:cubicBezTo>
                    <a:cubicBezTo>
                      <a:pt x="752" y="154"/>
                      <a:pt x="748" y="150"/>
                      <a:pt x="740" y="145"/>
                    </a:cubicBezTo>
                    <a:cubicBezTo>
                      <a:pt x="715" y="132"/>
                      <a:pt x="661" y="124"/>
                      <a:pt x="603" y="124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900" dirty="0"/>
              </a:p>
            </p:txBody>
          </p:sp>
          <p:grpSp>
            <p:nvGrpSpPr>
              <p:cNvPr id="33" name="Group 6">
                <a:extLst>
                  <a:ext uri="{FF2B5EF4-FFF2-40B4-BE49-F238E27FC236}">
                    <a16:creationId xmlns:a16="http://schemas.microsoft.com/office/drawing/2014/main" id="{A939FB37-3406-5A26-B488-0AAD0EC93CA4}"/>
                  </a:ext>
                </a:extLst>
              </p:cNvPr>
              <p:cNvGrpSpPr/>
              <p:nvPr/>
            </p:nvGrpSpPr>
            <p:grpSpPr>
              <a:xfrm>
                <a:off x="1599755" y="3155086"/>
                <a:ext cx="2612263" cy="761246"/>
                <a:chOff x="1617579" y="2542803"/>
                <a:chExt cx="3549271" cy="1034302"/>
              </a:xfrm>
            </p:grpSpPr>
            <p:sp>
              <p:nvSpPr>
                <p:cNvPr id="39" name="Freeform 49">
                  <a:extLst>
                    <a:ext uri="{FF2B5EF4-FFF2-40B4-BE49-F238E27FC236}">
                      <a16:creationId xmlns:a16="http://schemas.microsoft.com/office/drawing/2014/main" id="{0DDE20C9-736C-3788-FCF5-A9218E08D8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0883" y="2691036"/>
                  <a:ext cx="3454335" cy="886069"/>
                </a:xfrm>
                <a:custGeom>
                  <a:avLst/>
                  <a:gdLst>
                    <a:gd name="T0" fmla="*/ 1591 w 1594"/>
                    <a:gd name="T1" fmla="*/ 9 h 409"/>
                    <a:gd name="T2" fmla="*/ 1493 w 1594"/>
                    <a:gd name="T3" fmla="*/ 73 h 409"/>
                    <a:gd name="T4" fmla="*/ 1399 w 1594"/>
                    <a:gd name="T5" fmla="*/ 104 h 409"/>
                    <a:gd name="T6" fmla="*/ 1284 w 1594"/>
                    <a:gd name="T7" fmla="*/ 132 h 409"/>
                    <a:gd name="T8" fmla="*/ 1284 w 1594"/>
                    <a:gd name="T9" fmla="*/ 132 h 409"/>
                    <a:gd name="T10" fmla="*/ 1187 w 1594"/>
                    <a:gd name="T11" fmla="*/ 148 h 409"/>
                    <a:gd name="T12" fmla="*/ 687 w 1594"/>
                    <a:gd name="T13" fmla="*/ 170 h 409"/>
                    <a:gd name="T14" fmla="*/ 684 w 1594"/>
                    <a:gd name="T15" fmla="*/ 170 h 409"/>
                    <a:gd name="T16" fmla="*/ 635 w 1594"/>
                    <a:gd name="T17" fmla="*/ 168 h 409"/>
                    <a:gd name="T18" fmla="*/ 454 w 1594"/>
                    <a:gd name="T19" fmla="*/ 152 h 409"/>
                    <a:gd name="T20" fmla="*/ 380 w 1594"/>
                    <a:gd name="T21" fmla="*/ 142 h 409"/>
                    <a:gd name="T22" fmla="*/ 334 w 1594"/>
                    <a:gd name="T23" fmla="*/ 135 h 409"/>
                    <a:gd name="T24" fmla="*/ 313 w 1594"/>
                    <a:gd name="T25" fmla="*/ 131 h 409"/>
                    <a:gd name="T26" fmla="*/ 312 w 1594"/>
                    <a:gd name="T27" fmla="*/ 131 h 409"/>
                    <a:gd name="T28" fmla="*/ 311 w 1594"/>
                    <a:gd name="T29" fmla="*/ 130 h 409"/>
                    <a:gd name="T30" fmla="*/ 295 w 1594"/>
                    <a:gd name="T31" fmla="*/ 127 h 409"/>
                    <a:gd name="T32" fmla="*/ 150 w 1594"/>
                    <a:gd name="T33" fmla="*/ 88 h 409"/>
                    <a:gd name="T34" fmla="*/ 91 w 1594"/>
                    <a:gd name="T35" fmla="*/ 66 h 409"/>
                    <a:gd name="T36" fmla="*/ 37 w 1594"/>
                    <a:gd name="T37" fmla="*/ 34 h 409"/>
                    <a:gd name="T38" fmla="*/ 0 w 1594"/>
                    <a:gd name="T39" fmla="*/ 0 h 409"/>
                    <a:gd name="T40" fmla="*/ 55 w 1594"/>
                    <a:gd name="T41" fmla="*/ 100 h 409"/>
                    <a:gd name="T42" fmla="*/ 133 w 1594"/>
                    <a:gd name="T43" fmla="*/ 239 h 409"/>
                    <a:gd name="T44" fmla="*/ 218 w 1594"/>
                    <a:gd name="T45" fmla="*/ 317 h 409"/>
                    <a:gd name="T46" fmla="*/ 470 w 1594"/>
                    <a:gd name="T47" fmla="*/ 385 h 409"/>
                    <a:gd name="T48" fmla="*/ 615 w 1594"/>
                    <a:gd name="T49" fmla="*/ 399 h 409"/>
                    <a:gd name="T50" fmla="*/ 926 w 1594"/>
                    <a:gd name="T51" fmla="*/ 403 h 409"/>
                    <a:gd name="T52" fmla="*/ 1081 w 1594"/>
                    <a:gd name="T53" fmla="*/ 390 h 409"/>
                    <a:gd name="T54" fmla="*/ 1154 w 1594"/>
                    <a:gd name="T55" fmla="*/ 381 h 409"/>
                    <a:gd name="T56" fmla="*/ 1229 w 1594"/>
                    <a:gd name="T57" fmla="*/ 364 h 409"/>
                    <a:gd name="T58" fmla="*/ 1292 w 1594"/>
                    <a:gd name="T59" fmla="*/ 350 h 409"/>
                    <a:gd name="T60" fmla="*/ 1418 w 1594"/>
                    <a:gd name="T61" fmla="*/ 290 h 409"/>
                    <a:gd name="T62" fmla="*/ 1486 w 1594"/>
                    <a:gd name="T63" fmla="*/ 196 h 409"/>
                    <a:gd name="T64" fmla="*/ 1544 w 1594"/>
                    <a:gd name="T65" fmla="*/ 95 h 409"/>
                    <a:gd name="T66" fmla="*/ 1592 w 1594"/>
                    <a:gd name="T67" fmla="*/ 9 h 409"/>
                    <a:gd name="T68" fmla="*/ 1594 w 1594"/>
                    <a:gd name="T69" fmla="*/ 5 h 409"/>
                    <a:gd name="T70" fmla="*/ 1591 w 1594"/>
                    <a:gd name="T71" fmla="*/ 9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594" h="409">
                      <a:moveTo>
                        <a:pt x="1591" y="9"/>
                      </a:moveTo>
                      <a:cubicBezTo>
                        <a:pt x="1566" y="37"/>
                        <a:pt x="1529" y="57"/>
                        <a:pt x="1493" y="73"/>
                      </a:cubicBezTo>
                      <a:cubicBezTo>
                        <a:pt x="1463" y="86"/>
                        <a:pt x="1431" y="95"/>
                        <a:pt x="1399" y="104"/>
                      </a:cubicBezTo>
                      <a:cubicBezTo>
                        <a:pt x="1383" y="109"/>
                        <a:pt x="1290" y="131"/>
                        <a:pt x="1284" y="132"/>
                      </a:cubicBezTo>
                      <a:cubicBezTo>
                        <a:pt x="1284" y="132"/>
                        <a:pt x="1284" y="132"/>
                        <a:pt x="1284" y="132"/>
                      </a:cubicBezTo>
                      <a:cubicBezTo>
                        <a:pt x="1252" y="138"/>
                        <a:pt x="1219" y="145"/>
                        <a:pt x="1187" y="148"/>
                      </a:cubicBezTo>
                      <a:cubicBezTo>
                        <a:pt x="1022" y="171"/>
                        <a:pt x="854" y="177"/>
                        <a:pt x="687" y="170"/>
                      </a:cubicBezTo>
                      <a:cubicBezTo>
                        <a:pt x="684" y="170"/>
                        <a:pt x="684" y="170"/>
                        <a:pt x="684" y="170"/>
                      </a:cubicBezTo>
                      <a:cubicBezTo>
                        <a:pt x="668" y="170"/>
                        <a:pt x="651" y="169"/>
                        <a:pt x="635" y="168"/>
                      </a:cubicBezTo>
                      <a:cubicBezTo>
                        <a:pt x="574" y="163"/>
                        <a:pt x="514" y="160"/>
                        <a:pt x="454" y="152"/>
                      </a:cubicBezTo>
                      <a:cubicBezTo>
                        <a:pt x="429" y="150"/>
                        <a:pt x="404" y="146"/>
                        <a:pt x="380" y="142"/>
                      </a:cubicBezTo>
                      <a:cubicBezTo>
                        <a:pt x="365" y="140"/>
                        <a:pt x="349" y="138"/>
                        <a:pt x="334" y="135"/>
                      </a:cubicBezTo>
                      <a:cubicBezTo>
                        <a:pt x="327" y="133"/>
                        <a:pt x="320" y="132"/>
                        <a:pt x="313" y="131"/>
                      </a:cubicBezTo>
                      <a:cubicBezTo>
                        <a:pt x="313" y="131"/>
                        <a:pt x="312" y="131"/>
                        <a:pt x="312" y="131"/>
                      </a:cubicBezTo>
                      <a:cubicBezTo>
                        <a:pt x="311" y="130"/>
                        <a:pt x="311" y="130"/>
                        <a:pt x="311" y="130"/>
                      </a:cubicBezTo>
                      <a:cubicBezTo>
                        <a:pt x="306" y="129"/>
                        <a:pt x="300" y="128"/>
                        <a:pt x="295" y="127"/>
                      </a:cubicBezTo>
                      <a:cubicBezTo>
                        <a:pt x="246" y="117"/>
                        <a:pt x="196" y="106"/>
                        <a:pt x="150" y="88"/>
                      </a:cubicBezTo>
                      <a:cubicBezTo>
                        <a:pt x="130" y="81"/>
                        <a:pt x="110" y="75"/>
                        <a:pt x="91" y="66"/>
                      </a:cubicBezTo>
                      <a:cubicBezTo>
                        <a:pt x="72" y="57"/>
                        <a:pt x="54" y="46"/>
                        <a:pt x="37" y="34"/>
                      </a:cubicBezTo>
                      <a:cubicBezTo>
                        <a:pt x="24" y="24"/>
                        <a:pt x="9" y="13"/>
                        <a:pt x="0" y="0"/>
                      </a:cubicBezTo>
                      <a:cubicBezTo>
                        <a:pt x="22" y="32"/>
                        <a:pt x="37" y="67"/>
                        <a:pt x="55" y="100"/>
                      </a:cubicBezTo>
                      <a:cubicBezTo>
                        <a:pt x="80" y="147"/>
                        <a:pt x="107" y="193"/>
                        <a:pt x="133" y="239"/>
                      </a:cubicBezTo>
                      <a:cubicBezTo>
                        <a:pt x="151" y="272"/>
                        <a:pt x="181" y="300"/>
                        <a:pt x="218" y="317"/>
                      </a:cubicBezTo>
                      <a:cubicBezTo>
                        <a:pt x="297" y="355"/>
                        <a:pt x="382" y="374"/>
                        <a:pt x="470" y="385"/>
                      </a:cubicBezTo>
                      <a:cubicBezTo>
                        <a:pt x="518" y="392"/>
                        <a:pt x="567" y="395"/>
                        <a:pt x="615" y="399"/>
                      </a:cubicBezTo>
                      <a:cubicBezTo>
                        <a:pt x="719" y="407"/>
                        <a:pt x="823" y="409"/>
                        <a:pt x="926" y="403"/>
                      </a:cubicBezTo>
                      <a:cubicBezTo>
                        <a:pt x="978" y="401"/>
                        <a:pt x="1030" y="396"/>
                        <a:pt x="1081" y="390"/>
                      </a:cubicBezTo>
                      <a:cubicBezTo>
                        <a:pt x="1106" y="387"/>
                        <a:pt x="1130" y="384"/>
                        <a:pt x="1154" y="381"/>
                      </a:cubicBezTo>
                      <a:cubicBezTo>
                        <a:pt x="1179" y="377"/>
                        <a:pt x="1205" y="369"/>
                        <a:pt x="1229" y="364"/>
                      </a:cubicBezTo>
                      <a:cubicBezTo>
                        <a:pt x="1250" y="360"/>
                        <a:pt x="1272" y="356"/>
                        <a:pt x="1292" y="350"/>
                      </a:cubicBezTo>
                      <a:cubicBezTo>
                        <a:pt x="1338" y="338"/>
                        <a:pt x="1384" y="320"/>
                        <a:pt x="1418" y="290"/>
                      </a:cubicBezTo>
                      <a:cubicBezTo>
                        <a:pt x="1449" y="264"/>
                        <a:pt x="1468" y="230"/>
                        <a:pt x="1486" y="196"/>
                      </a:cubicBezTo>
                      <a:cubicBezTo>
                        <a:pt x="1504" y="162"/>
                        <a:pt x="1524" y="129"/>
                        <a:pt x="1544" y="95"/>
                      </a:cubicBezTo>
                      <a:cubicBezTo>
                        <a:pt x="1560" y="67"/>
                        <a:pt x="1577" y="38"/>
                        <a:pt x="1592" y="9"/>
                      </a:cubicBezTo>
                      <a:cubicBezTo>
                        <a:pt x="1593" y="8"/>
                        <a:pt x="1593" y="6"/>
                        <a:pt x="1594" y="5"/>
                      </a:cubicBezTo>
                      <a:cubicBezTo>
                        <a:pt x="1593" y="6"/>
                        <a:pt x="1592" y="7"/>
                        <a:pt x="1591" y="9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40" name="Freeform 50">
                  <a:extLst>
                    <a:ext uri="{FF2B5EF4-FFF2-40B4-BE49-F238E27FC236}">
                      <a16:creationId xmlns:a16="http://schemas.microsoft.com/office/drawing/2014/main" id="{1EAD0025-2F2E-645B-7BA4-33D2B386EF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7579" y="2542803"/>
                  <a:ext cx="3549271" cy="537970"/>
                </a:xfrm>
                <a:custGeom>
                  <a:avLst/>
                  <a:gdLst>
                    <a:gd name="T0" fmla="*/ 833 w 1638"/>
                    <a:gd name="T1" fmla="*/ 248 h 248"/>
                    <a:gd name="T2" fmla="*/ 707 w 1638"/>
                    <a:gd name="T3" fmla="*/ 245 h 248"/>
                    <a:gd name="T4" fmla="*/ 704 w 1638"/>
                    <a:gd name="T5" fmla="*/ 245 h 248"/>
                    <a:gd name="T6" fmla="*/ 655 w 1638"/>
                    <a:gd name="T7" fmla="*/ 243 h 248"/>
                    <a:gd name="T8" fmla="*/ 594 w 1638"/>
                    <a:gd name="T9" fmla="*/ 238 h 248"/>
                    <a:gd name="T10" fmla="*/ 473 w 1638"/>
                    <a:gd name="T11" fmla="*/ 227 h 248"/>
                    <a:gd name="T12" fmla="*/ 413 w 1638"/>
                    <a:gd name="T13" fmla="*/ 219 h 248"/>
                    <a:gd name="T14" fmla="*/ 399 w 1638"/>
                    <a:gd name="T15" fmla="*/ 217 h 248"/>
                    <a:gd name="T16" fmla="*/ 390 w 1638"/>
                    <a:gd name="T17" fmla="*/ 216 h 248"/>
                    <a:gd name="T18" fmla="*/ 388 w 1638"/>
                    <a:gd name="T19" fmla="*/ 216 h 248"/>
                    <a:gd name="T20" fmla="*/ 245 w 1638"/>
                    <a:gd name="T21" fmla="*/ 187 h 248"/>
                    <a:gd name="T22" fmla="*/ 106 w 1638"/>
                    <a:gd name="T23" fmla="*/ 139 h 248"/>
                    <a:gd name="T24" fmla="*/ 42 w 1638"/>
                    <a:gd name="T25" fmla="*/ 101 h 248"/>
                    <a:gd name="T26" fmla="*/ 2 w 1638"/>
                    <a:gd name="T27" fmla="*/ 29 h 248"/>
                    <a:gd name="T28" fmla="*/ 2 w 1638"/>
                    <a:gd name="T29" fmla="*/ 27 h 248"/>
                    <a:gd name="T30" fmla="*/ 7 w 1638"/>
                    <a:gd name="T31" fmla="*/ 9 h 248"/>
                    <a:gd name="T32" fmla="*/ 7 w 1638"/>
                    <a:gd name="T33" fmla="*/ 9 h 248"/>
                    <a:gd name="T34" fmla="*/ 8 w 1638"/>
                    <a:gd name="T35" fmla="*/ 7 h 248"/>
                    <a:gd name="T36" fmla="*/ 12 w 1638"/>
                    <a:gd name="T37" fmla="*/ 0 h 248"/>
                    <a:gd name="T38" fmla="*/ 20 w 1638"/>
                    <a:gd name="T39" fmla="*/ 5 h 248"/>
                    <a:gd name="T40" fmla="*/ 20 w 1638"/>
                    <a:gd name="T41" fmla="*/ 5 h 248"/>
                    <a:gd name="T42" fmla="*/ 25 w 1638"/>
                    <a:gd name="T43" fmla="*/ 8 h 248"/>
                    <a:gd name="T44" fmla="*/ 31 w 1638"/>
                    <a:gd name="T45" fmla="*/ 12 h 248"/>
                    <a:gd name="T46" fmla="*/ 459 w 1638"/>
                    <a:gd name="T47" fmla="*/ 119 h 248"/>
                    <a:gd name="T48" fmla="*/ 828 w 1638"/>
                    <a:gd name="T49" fmla="*/ 139 h 248"/>
                    <a:gd name="T50" fmla="*/ 893 w 1638"/>
                    <a:gd name="T51" fmla="*/ 139 h 248"/>
                    <a:gd name="T52" fmla="*/ 896 w 1638"/>
                    <a:gd name="T53" fmla="*/ 139 h 248"/>
                    <a:gd name="T54" fmla="*/ 982 w 1638"/>
                    <a:gd name="T55" fmla="*/ 134 h 248"/>
                    <a:gd name="T56" fmla="*/ 1038 w 1638"/>
                    <a:gd name="T57" fmla="*/ 133 h 248"/>
                    <a:gd name="T58" fmla="*/ 1177 w 1638"/>
                    <a:gd name="T59" fmla="*/ 120 h 248"/>
                    <a:gd name="T60" fmla="*/ 1480 w 1638"/>
                    <a:gd name="T61" fmla="*/ 64 h 248"/>
                    <a:gd name="T62" fmla="*/ 1481 w 1638"/>
                    <a:gd name="T63" fmla="*/ 63 h 248"/>
                    <a:gd name="T64" fmla="*/ 1612 w 1638"/>
                    <a:gd name="T65" fmla="*/ 11 h 248"/>
                    <a:gd name="T66" fmla="*/ 1615 w 1638"/>
                    <a:gd name="T67" fmla="*/ 9 h 248"/>
                    <a:gd name="T68" fmla="*/ 1618 w 1638"/>
                    <a:gd name="T69" fmla="*/ 7 h 248"/>
                    <a:gd name="T70" fmla="*/ 1626 w 1638"/>
                    <a:gd name="T71" fmla="*/ 3 h 248"/>
                    <a:gd name="T72" fmla="*/ 1630 w 1638"/>
                    <a:gd name="T73" fmla="*/ 10 h 248"/>
                    <a:gd name="T74" fmla="*/ 1631 w 1638"/>
                    <a:gd name="T75" fmla="*/ 14 h 248"/>
                    <a:gd name="T76" fmla="*/ 1626 w 1638"/>
                    <a:gd name="T77" fmla="*/ 70 h 248"/>
                    <a:gd name="T78" fmla="*/ 1624 w 1638"/>
                    <a:gd name="T79" fmla="*/ 73 h 248"/>
                    <a:gd name="T80" fmla="*/ 1622 w 1638"/>
                    <a:gd name="T81" fmla="*/ 75 h 248"/>
                    <a:gd name="T82" fmla="*/ 1479 w 1638"/>
                    <a:gd name="T83" fmla="*/ 161 h 248"/>
                    <a:gd name="T84" fmla="*/ 1305 w 1638"/>
                    <a:gd name="T85" fmla="*/ 207 h 248"/>
                    <a:gd name="T86" fmla="*/ 1208 w 1638"/>
                    <a:gd name="T87" fmla="*/ 223 h 248"/>
                    <a:gd name="T88" fmla="*/ 833 w 1638"/>
                    <a:gd name="T89" fmla="*/ 248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638" h="248">
                      <a:moveTo>
                        <a:pt x="833" y="248"/>
                      </a:moveTo>
                      <a:cubicBezTo>
                        <a:pt x="792" y="248"/>
                        <a:pt x="749" y="247"/>
                        <a:pt x="707" y="245"/>
                      </a:cubicBezTo>
                      <a:cubicBezTo>
                        <a:pt x="704" y="245"/>
                        <a:pt x="704" y="245"/>
                        <a:pt x="704" y="245"/>
                      </a:cubicBezTo>
                      <a:cubicBezTo>
                        <a:pt x="687" y="245"/>
                        <a:pt x="671" y="244"/>
                        <a:pt x="655" y="243"/>
                      </a:cubicBezTo>
                      <a:cubicBezTo>
                        <a:pt x="634" y="241"/>
                        <a:pt x="614" y="240"/>
                        <a:pt x="594" y="238"/>
                      </a:cubicBezTo>
                      <a:cubicBezTo>
                        <a:pt x="554" y="235"/>
                        <a:pt x="513" y="232"/>
                        <a:pt x="473" y="227"/>
                      </a:cubicBezTo>
                      <a:cubicBezTo>
                        <a:pt x="453" y="226"/>
                        <a:pt x="432" y="222"/>
                        <a:pt x="413" y="219"/>
                      </a:cubicBezTo>
                      <a:cubicBezTo>
                        <a:pt x="408" y="219"/>
                        <a:pt x="404" y="218"/>
                        <a:pt x="399" y="217"/>
                      </a:cubicBezTo>
                      <a:cubicBezTo>
                        <a:pt x="396" y="217"/>
                        <a:pt x="393" y="216"/>
                        <a:pt x="390" y="216"/>
                      </a:cubicBezTo>
                      <a:cubicBezTo>
                        <a:pt x="388" y="216"/>
                        <a:pt x="388" y="216"/>
                        <a:pt x="388" y="216"/>
                      </a:cubicBezTo>
                      <a:cubicBezTo>
                        <a:pt x="338" y="208"/>
                        <a:pt x="290" y="198"/>
                        <a:pt x="245" y="187"/>
                      </a:cubicBezTo>
                      <a:cubicBezTo>
                        <a:pt x="201" y="175"/>
                        <a:pt x="149" y="160"/>
                        <a:pt x="106" y="139"/>
                      </a:cubicBezTo>
                      <a:cubicBezTo>
                        <a:pt x="84" y="128"/>
                        <a:pt x="61" y="117"/>
                        <a:pt x="42" y="101"/>
                      </a:cubicBezTo>
                      <a:cubicBezTo>
                        <a:pt x="14" y="79"/>
                        <a:pt x="0" y="53"/>
                        <a:pt x="2" y="29"/>
                      </a:cubicBezTo>
                      <a:cubicBezTo>
                        <a:pt x="2" y="28"/>
                        <a:pt x="2" y="27"/>
                        <a:pt x="2" y="27"/>
                      </a:cubicBezTo>
                      <a:cubicBezTo>
                        <a:pt x="2" y="21"/>
                        <a:pt x="4" y="15"/>
                        <a:pt x="7" y="9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8"/>
                        <a:pt x="7" y="8"/>
                        <a:pt x="8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2" y="6"/>
                        <a:pt x="23" y="7"/>
                        <a:pt x="25" y="8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165" y="78"/>
                        <a:pt x="323" y="103"/>
                        <a:pt x="459" y="119"/>
                      </a:cubicBezTo>
                      <a:cubicBezTo>
                        <a:pt x="576" y="133"/>
                        <a:pt x="696" y="139"/>
                        <a:pt x="828" y="139"/>
                      </a:cubicBezTo>
                      <a:cubicBezTo>
                        <a:pt x="849" y="139"/>
                        <a:pt x="871" y="139"/>
                        <a:pt x="893" y="139"/>
                      </a:cubicBezTo>
                      <a:cubicBezTo>
                        <a:pt x="894" y="139"/>
                        <a:pt x="895" y="139"/>
                        <a:pt x="896" y="139"/>
                      </a:cubicBezTo>
                      <a:cubicBezTo>
                        <a:pt x="924" y="135"/>
                        <a:pt x="953" y="135"/>
                        <a:pt x="982" y="134"/>
                      </a:cubicBezTo>
                      <a:cubicBezTo>
                        <a:pt x="1001" y="134"/>
                        <a:pt x="1020" y="134"/>
                        <a:pt x="1038" y="133"/>
                      </a:cubicBezTo>
                      <a:cubicBezTo>
                        <a:pt x="1086" y="130"/>
                        <a:pt x="1132" y="125"/>
                        <a:pt x="1177" y="120"/>
                      </a:cubicBezTo>
                      <a:cubicBezTo>
                        <a:pt x="1290" y="108"/>
                        <a:pt x="1389" y="90"/>
                        <a:pt x="1480" y="64"/>
                      </a:cubicBezTo>
                      <a:cubicBezTo>
                        <a:pt x="1481" y="63"/>
                        <a:pt x="1481" y="63"/>
                        <a:pt x="1481" y="63"/>
                      </a:cubicBezTo>
                      <a:cubicBezTo>
                        <a:pt x="1524" y="50"/>
                        <a:pt x="1566" y="33"/>
                        <a:pt x="1612" y="11"/>
                      </a:cubicBezTo>
                      <a:cubicBezTo>
                        <a:pt x="1613" y="10"/>
                        <a:pt x="1614" y="10"/>
                        <a:pt x="1615" y="9"/>
                      </a:cubicBezTo>
                      <a:cubicBezTo>
                        <a:pt x="1618" y="7"/>
                        <a:pt x="1618" y="7"/>
                        <a:pt x="1618" y="7"/>
                      </a:cubicBezTo>
                      <a:cubicBezTo>
                        <a:pt x="1626" y="3"/>
                        <a:pt x="1626" y="3"/>
                        <a:pt x="1626" y="3"/>
                      </a:cubicBezTo>
                      <a:cubicBezTo>
                        <a:pt x="1630" y="10"/>
                        <a:pt x="1630" y="10"/>
                        <a:pt x="1630" y="10"/>
                      </a:cubicBezTo>
                      <a:cubicBezTo>
                        <a:pt x="1630" y="12"/>
                        <a:pt x="1631" y="13"/>
                        <a:pt x="1631" y="14"/>
                      </a:cubicBezTo>
                      <a:cubicBezTo>
                        <a:pt x="1638" y="33"/>
                        <a:pt x="1636" y="53"/>
                        <a:pt x="1626" y="70"/>
                      </a:cubicBezTo>
                      <a:cubicBezTo>
                        <a:pt x="1624" y="73"/>
                        <a:pt x="1624" y="73"/>
                        <a:pt x="1624" y="73"/>
                      </a:cubicBezTo>
                      <a:cubicBezTo>
                        <a:pt x="1623" y="74"/>
                        <a:pt x="1623" y="74"/>
                        <a:pt x="1622" y="75"/>
                      </a:cubicBezTo>
                      <a:cubicBezTo>
                        <a:pt x="1586" y="120"/>
                        <a:pt x="1527" y="145"/>
                        <a:pt x="1479" y="161"/>
                      </a:cubicBezTo>
                      <a:cubicBezTo>
                        <a:pt x="1421" y="181"/>
                        <a:pt x="1320" y="204"/>
                        <a:pt x="1305" y="207"/>
                      </a:cubicBezTo>
                      <a:cubicBezTo>
                        <a:pt x="1271" y="214"/>
                        <a:pt x="1239" y="220"/>
                        <a:pt x="1208" y="223"/>
                      </a:cubicBezTo>
                      <a:cubicBezTo>
                        <a:pt x="1090" y="239"/>
                        <a:pt x="963" y="248"/>
                        <a:pt x="833" y="248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  <p:grpSp>
            <p:nvGrpSpPr>
              <p:cNvPr id="34" name="Group 7">
                <a:extLst>
                  <a:ext uri="{FF2B5EF4-FFF2-40B4-BE49-F238E27FC236}">
                    <a16:creationId xmlns:a16="http://schemas.microsoft.com/office/drawing/2014/main" id="{D6340553-BF15-62AD-F5A0-435C5C5740B5}"/>
                  </a:ext>
                </a:extLst>
              </p:cNvPr>
              <p:cNvGrpSpPr/>
              <p:nvPr/>
            </p:nvGrpSpPr>
            <p:grpSpPr>
              <a:xfrm>
                <a:off x="1262649" y="2190351"/>
                <a:ext cx="3287700" cy="1198871"/>
                <a:chOff x="1159555" y="1232021"/>
                <a:chExt cx="4466985" cy="1628901"/>
              </a:xfrm>
            </p:grpSpPr>
            <p:sp>
              <p:nvSpPr>
                <p:cNvPr id="35" name="Freeform 53">
                  <a:extLst>
                    <a:ext uri="{FF2B5EF4-FFF2-40B4-BE49-F238E27FC236}">
                      <a16:creationId xmlns:a16="http://schemas.microsoft.com/office/drawing/2014/main" id="{07D0154B-E3FB-DCD7-3DB3-E40BD2ECAF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11832"/>
                  <a:ext cx="1948685" cy="576278"/>
                </a:xfrm>
                <a:custGeom>
                  <a:avLst/>
                  <a:gdLst>
                    <a:gd name="T0" fmla="*/ 899 w 899"/>
                    <a:gd name="T1" fmla="*/ 133 h 266"/>
                    <a:gd name="T2" fmla="*/ 896 w 899"/>
                    <a:gd name="T3" fmla="*/ 142 h 266"/>
                    <a:gd name="T4" fmla="*/ 889 w 899"/>
                    <a:gd name="T5" fmla="*/ 153 h 266"/>
                    <a:gd name="T6" fmla="*/ 878 w 899"/>
                    <a:gd name="T7" fmla="*/ 164 h 266"/>
                    <a:gd name="T8" fmla="*/ 862 w 899"/>
                    <a:gd name="T9" fmla="*/ 175 h 266"/>
                    <a:gd name="T10" fmla="*/ 846 w 899"/>
                    <a:gd name="T11" fmla="*/ 246 h 266"/>
                    <a:gd name="T12" fmla="*/ 825 w 899"/>
                    <a:gd name="T13" fmla="*/ 255 h 266"/>
                    <a:gd name="T14" fmla="*/ 797 w 899"/>
                    <a:gd name="T15" fmla="*/ 265 h 266"/>
                    <a:gd name="T16" fmla="*/ 784 w 899"/>
                    <a:gd name="T17" fmla="*/ 265 h 266"/>
                    <a:gd name="T18" fmla="*/ 745 w 899"/>
                    <a:gd name="T19" fmla="*/ 261 h 266"/>
                    <a:gd name="T20" fmla="*/ 730 w 899"/>
                    <a:gd name="T21" fmla="*/ 260 h 266"/>
                    <a:gd name="T22" fmla="*/ 700 w 899"/>
                    <a:gd name="T23" fmla="*/ 258 h 266"/>
                    <a:gd name="T24" fmla="*/ 675 w 899"/>
                    <a:gd name="T25" fmla="*/ 256 h 266"/>
                    <a:gd name="T26" fmla="*/ 664 w 899"/>
                    <a:gd name="T27" fmla="*/ 255 h 266"/>
                    <a:gd name="T28" fmla="*/ 636 w 899"/>
                    <a:gd name="T29" fmla="*/ 253 h 266"/>
                    <a:gd name="T30" fmla="*/ 613 w 899"/>
                    <a:gd name="T31" fmla="*/ 252 h 266"/>
                    <a:gd name="T32" fmla="*/ 591 w 899"/>
                    <a:gd name="T33" fmla="*/ 251 h 266"/>
                    <a:gd name="T34" fmla="*/ 563 w 899"/>
                    <a:gd name="T35" fmla="*/ 250 h 266"/>
                    <a:gd name="T36" fmla="*/ 538 w 899"/>
                    <a:gd name="T37" fmla="*/ 249 h 266"/>
                    <a:gd name="T38" fmla="*/ 509 w 899"/>
                    <a:gd name="T39" fmla="*/ 248 h 266"/>
                    <a:gd name="T40" fmla="*/ 479 w 899"/>
                    <a:gd name="T41" fmla="*/ 248 h 266"/>
                    <a:gd name="T42" fmla="*/ 448 w 899"/>
                    <a:gd name="T43" fmla="*/ 248 h 266"/>
                    <a:gd name="T44" fmla="*/ 420 w 899"/>
                    <a:gd name="T45" fmla="*/ 248 h 266"/>
                    <a:gd name="T46" fmla="*/ 391 w 899"/>
                    <a:gd name="T47" fmla="*/ 248 h 266"/>
                    <a:gd name="T48" fmla="*/ 365 w 899"/>
                    <a:gd name="T49" fmla="*/ 249 h 266"/>
                    <a:gd name="T50" fmla="*/ 340 w 899"/>
                    <a:gd name="T51" fmla="*/ 249 h 266"/>
                    <a:gd name="T52" fmla="*/ 311 w 899"/>
                    <a:gd name="T53" fmla="*/ 250 h 266"/>
                    <a:gd name="T54" fmla="*/ 279 w 899"/>
                    <a:gd name="T55" fmla="*/ 252 h 266"/>
                    <a:gd name="T56" fmla="*/ 251 w 899"/>
                    <a:gd name="T57" fmla="*/ 253 h 266"/>
                    <a:gd name="T58" fmla="*/ 211 w 899"/>
                    <a:gd name="T59" fmla="*/ 256 h 266"/>
                    <a:gd name="T60" fmla="*/ 183 w 899"/>
                    <a:gd name="T61" fmla="*/ 258 h 266"/>
                    <a:gd name="T62" fmla="*/ 152 w 899"/>
                    <a:gd name="T63" fmla="*/ 260 h 266"/>
                    <a:gd name="T64" fmla="*/ 112 w 899"/>
                    <a:gd name="T65" fmla="*/ 264 h 266"/>
                    <a:gd name="T66" fmla="*/ 39 w 899"/>
                    <a:gd name="T67" fmla="*/ 175 h 266"/>
                    <a:gd name="T68" fmla="*/ 26 w 899"/>
                    <a:gd name="T69" fmla="*/ 167 h 266"/>
                    <a:gd name="T70" fmla="*/ 17 w 899"/>
                    <a:gd name="T71" fmla="*/ 160 h 266"/>
                    <a:gd name="T72" fmla="*/ 8 w 899"/>
                    <a:gd name="T73" fmla="*/ 150 h 266"/>
                    <a:gd name="T74" fmla="*/ 3 w 899"/>
                    <a:gd name="T75" fmla="*/ 142 h 266"/>
                    <a:gd name="T76" fmla="*/ 0 w 899"/>
                    <a:gd name="T77" fmla="*/ 132 h 266"/>
                    <a:gd name="T78" fmla="*/ 0 w 899"/>
                    <a:gd name="T79" fmla="*/ 129 h 266"/>
                    <a:gd name="T80" fmla="*/ 1 w 899"/>
                    <a:gd name="T81" fmla="*/ 121 h 266"/>
                    <a:gd name="T82" fmla="*/ 6 w 899"/>
                    <a:gd name="T83" fmla="*/ 110 h 266"/>
                    <a:gd name="T84" fmla="*/ 13 w 899"/>
                    <a:gd name="T85" fmla="*/ 101 h 266"/>
                    <a:gd name="T86" fmla="*/ 25 w 899"/>
                    <a:gd name="T87" fmla="*/ 91 h 266"/>
                    <a:gd name="T88" fmla="*/ 43 w 899"/>
                    <a:gd name="T89" fmla="*/ 80 h 266"/>
                    <a:gd name="T90" fmla="*/ 59 w 899"/>
                    <a:gd name="T91" fmla="*/ 73 h 266"/>
                    <a:gd name="T92" fmla="*/ 83 w 899"/>
                    <a:gd name="T93" fmla="*/ 63 h 266"/>
                    <a:gd name="T94" fmla="*/ 111 w 899"/>
                    <a:gd name="T95" fmla="*/ 54 h 266"/>
                    <a:gd name="T96" fmla="*/ 135 w 899"/>
                    <a:gd name="T97" fmla="*/ 48 h 266"/>
                    <a:gd name="T98" fmla="*/ 171 w 899"/>
                    <a:gd name="T99" fmla="*/ 40 h 266"/>
                    <a:gd name="T100" fmla="*/ 206 w 899"/>
                    <a:gd name="T101" fmla="*/ 34 h 266"/>
                    <a:gd name="T102" fmla="*/ 238 w 899"/>
                    <a:gd name="T103" fmla="*/ 29 h 266"/>
                    <a:gd name="T104" fmla="*/ 863 w 899"/>
                    <a:gd name="T105" fmla="*/ 86 h 266"/>
                    <a:gd name="T106" fmla="*/ 874 w 899"/>
                    <a:gd name="T107" fmla="*/ 93 h 266"/>
                    <a:gd name="T108" fmla="*/ 885 w 899"/>
                    <a:gd name="T109" fmla="*/ 102 h 266"/>
                    <a:gd name="T110" fmla="*/ 892 w 899"/>
                    <a:gd name="T111" fmla="*/ 110 h 266"/>
                    <a:gd name="T112" fmla="*/ 896 w 899"/>
                    <a:gd name="T113" fmla="*/ 118 h 266"/>
                    <a:gd name="T114" fmla="*/ 899 w 899"/>
                    <a:gd name="T115" fmla="*/ 12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66">
                      <a:moveTo>
                        <a:pt x="899" y="129"/>
                      </a:move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0"/>
                        <a:pt x="899" y="130"/>
                        <a:pt x="899" y="130"/>
                      </a:cubicBezTo>
                      <a:cubicBezTo>
                        <a:pt x="899" y="131"/>
                        <a:pt x="899" y="131"/>
                        <a:pt x="899" y="131"/>
                      </a:cubicBezTo>
                      <a:cubicBezTo>
                        <a:pt x="899" y="132"/>
                        <a:pt x="899" y="133"/>
                        <a:pt x="899" y="133"/>
                      </a:cubicBezTo>
                      <a:cubicBezTo>
                        <a:pt x="899" y="134"/>
                        <a:pt x="899" y="134"/>
                        <a:pt x="899" y="134"/>
                      </a:cubicBezTo>
                      <a:cubicBezTo>
                        <a:pt x="898" y="135"/>
                        <a:pt x="898" y="136"/>
                        <a:pt x="898" y="137"/>
                      </a:cubicBezTo>
                      <a:cubicBezTo>
                        <a:pt x="898" y="138"/>
                        <a:pt x="898" y="138"/>
                        <a:pt x="898" y="138"/>
                      </a:cubicBezTo>
                      <a:cubicBezTo>
                        <a:pt x="897" y="139"/>
                        <a:pt x="897" y="140"/>
                        <a:pt x="897" y="141"/>
                      </a:cubicBezTo>
                      <a:cubicBezTo>
                        <a:pt x="896" y="142"/>
                        <a:pt x="896" y="142"/>
                        <a:pt x="896" y="142"/>
                      </a:cubicBezTo>
                      <a:cubicBezTo>
                        <a:pt x="896" y="143"/>
                        <a:pt x="895" y="144"/>
                        <a:pt x="895" y="145"/>
                      </a:cubicBezTo>
                      <a:cubicBezTo>
                        <a:pt x="894" y="147"/>
                        <a:pt x="893" y="148"/>
                        <a:pt x="893" y="149"/>
                      </a:cubicBezTo>
                      <a:cubicBezTo>
                        <a:pt x="892" y="150"/>
                        <a:pt x="892" y="150"/>
                        <a:pt x="892" y="150"/>
                      </a:cubicBezTo>
                      <a:cubicBezTo>
                        <a:pt x="891" y="151"/>
                        <a:pt x="890" y="152"/>
                        <a:pt x="890" y="153"/>
                      </a:cubicBezTo>
                      <a:cubicBezTo>
                        <a:pt x="889" y="153"/>
                        <a:pt x="889" y="153"/>
                        <a:pt x="889" y="153"/>
                      </a:cubicBezTo>
                      <a:cubicBezTo>
                        <a:pt x="888" y="154"/>
                        <a:pt x="887" y="155"/>
                        <a:pt x="886" y="156"/>
                      </a:cubicBezTo>
                      <a:cubicBezTo>
                        <a:pt x="885" y="157"/>
                        <a:pt x="885" y="157"/>
                        <a:pt x="885" y="157"/>
                      </a:cubicBezTo>
                      <a:cubicBezTo>
                        <a:pt x="884" y="158"/>
                        <a:pt x="884" y="159"/>
                        <a:pt x="883" y="160"/>
                      </a:cubicBezTo>
                      <a:cubicBezTo>
                        <a:pt x="882" y="161"/>
                        <a:pt x="882" y="161"/>
                        <a:pt x="882" y="161"/>
                      </a:cubicBezTo>
                      <a:cubicBezTo>
                        <a:pt x="880" y="162"/>
                        <a:pt x="879" y="163"/>
                        <a:pt x="878" y="164"/>
                      </a:cubicBezTo>
                      <a:cubicBezTo>
                        <a:pt x="877" y="165"/>
                        <a:pt x="877" y="165"/>
                        <a:pt x="877" y="165"/>
                      </a:cubicBezTo>
                      <a:cubicBezTo>
                        <a:pt x="876" y="166"/>
                        <a:pt x="875" y="167"/>
                        <a:pt x="873" y="167"/>
                      </a:cubicBezTo>
                      <a:cubicBezTo>
                        <a:pt x="873" y="168"/>
                        <a:pt x="872" y="168"/>
                        <a:pt x="872" y="168"/>
                      </a:cubicBezTo>
                      <a:cubicBezTo>
                        <a:pt x="870" y="169"/>
                        <a:pt x="869" y="170"/>
                        <a:pt x="867" y="172"/>
                      </a:cubicBezTo>
                      <a:cubicBezTo>
                        <a:pt x="865" y="173"/>
                        <a:pt x="864" y="174"/>
                        <a:pt x="862" y="175"/>
                      </a:cubicBezTo>
                      <a:cubicBezTo>
                        <a:pt x="861" y="175"/>
                        <a:pt x="861" y="175"/>
                        <a:pt x="860" y="176"/>
                      </a:cubicBezTo>
                      <a:cubicBezTo>
                        <a:pt x="859" y="176"/>
                        <a:pt x="857" y="177"/>
                        <a:pt x="856" y="178"/>
                      </a:cubicBezTo>
                      <a:cubicBezTo>
                        <a:pt x="854" y="243"/>
                        <a:pt x="854" y="243"/>
                        <a:pt x="854" y="243"/>
                      </a:cubicBezTo>
                      <a:cubicBezTo>
                        <a:pt x="852" y="244"/>
                        <a:pt x="850" y="245"/>
                        <a:pt x="848" y="246"/>
                      </a:cubicBezTo>
                      <a:cubicBezTo>
                        <a:pt x="847" y="246"/>
                        <a:pt x="847" y="246"/>
                        <a:pt x="846" y="246"/>
                      </a:cubicBezTo>
                      <a:cubicBezTo>
                        <a:pt x="844" y="247"/>
                        <a:pt x="843" y="248"/>
                        <a:pt x="841" y="249"/>
                      </a:cubicBezTo>
                      <a:cubicBezTo>
                        <a:pt x="840" y="249"/>
                        <a:pt x="840" y="249"/>
                        <a:pt x="839" y="250"/>
                      </a:cubicBezTo>
                      <a:cubicBezTo>
                        <a:pt x="837" y="251"/>
                        <a:pt x="835" y="251"/>
                        <a:pt x="832" y="252"/>
                      </a:cubicBezTo>
                      <a:cubicBezTo>
                        <a:pt x="832" y="253"/>
                        <a:pt x="831" y="253"/>
                        <a:pt x="831" y="253"/>
                      </a:cubicBezTo>
                      <a:cubicBezTo>
                        <a:pt x="829" y="254"/>
                        <a:pt x="827" y="255"/>
                        <a:pt x="825" y="255"/>
                      </a:cubicBezTo>
                      <a:cubicBezTo>
                        <a:pt x="824" y="256"/>
                        <a:pt x="823" y="256"/>
                        <a:pt x="823" y="256"/>
                      </a:cubicBezTo>
                      <a:cubicBezTo>
                        <a:pt x="820" y="257"/>
                        <a:pt x="818" y="258"/>
                        <a:pt x="815" y="259"/>
                      </a:cubicBezTo>
                      <a:cubicBezTo>
                        <a:pt x="812" y="260"/>
                        <a:pt x="809" y="261"/>
                        <a:pt x="807" y="262"/>
                      </a:cubicBezTo>
                      <a:cubicBezTo>
                        <a:pt x="806" y="262"/>
                        <a:pt x="805" y="262"/>
                        <a:pt x="804" y="263"/>
                      </a:cubicBezTo>
                      <a:cubicBezTo>
                        <a:pt x="802" y="263"/>
                        <a:pt x="800" y="264"/>
                        <a:pt x="797" y="265"/>
                      </a:cubicBezTo>
                      <a:cubicBezTo>
                        <a:pt x="797" y="265"/>
                        <a:pt x="796" y="265"/>
                        <a:pt x="796" y="265"/>
                      </a:cubicBezTo>
                      <a:cubicBezTo>
                        <a:pt x="795" y="266"/>
                        <a:pt x="794" y="266"/>
                        <a:pt x="793" y="266"/>
                      </a:cubicBezTo>
                      <a:cubicBezTo>
                        <a:pt x="792" y="266"/>
                        <a:pt x="792" y="266"/>
                        <a:pt x="792" y="266"/>
                      </a:cubicBezTo>
                      <a:cubicBezTo>
                        <a:pt x="790" y="266"/>
                        <a:pt x="787" y="266"/>
                        <a:pt x="785" y="265"/>
                      </a:cubicBezTo>
                      <a:cubicBezTo>
                        <a:pt x="785" y="265"/>
                        <a:pt x="784" y="265"/>
                        <a:pt x="784" y="265"/>
                      </a:cubicBezTo>
                      <a:cubicBezTo>
                        <a:pt x="782" y="265"/>
                        <a:pt x="781" y="265"/>
                        <a:pt x="779" y="265"/>
                      </a:cubicBezTo>
                      <a:cubicBezTo>
                        <a:pt x="772" y="264"/>
                        <a:pt x="765" y="263"/>
                        <a:pt x="757" y="263"/>
                      </a:cubicBezTo>
                      <a:cubicBezTo>
                        <a:pt x="755" y="262"/>
                        <a:pt x="753" y="262"/>
                        <a:pt x="750" y="262"/>
                      </a:cubicBezTo>
                      <a:cubicBezTo>
                        <a:pt x="749" y="262"/>
                        <a:pt x="748" y="262"/>
                        <a:pt x="747" y="262"/>
                      </a:cubicBezTo>
                      <a:cubicBezTo>
                        <a:pt x="746" y="261"/>
                        <a:pt x="746" y="261"/>
                        <a:pt x="745" y="261"/>
                      </a:cubicBezTo>
                      <a:cubicBezTo>
                        <a:pt x="742" y="261"/>
                        <a:pt x="740" y="261"/>
                        <a:pt x="737" y="261"/>
                      </a:cubicBezTo>
                      <a:cubicBezTo>
                        <a:pt x="736" y="261"/>
                        <a:pt x="735" y="260"/>
                        <a:pt x="734" y="260"/>
                      </a:cubicBezTo>
                      <a:cubicBezTo>
                        <a:pt x="733" y="260"/>
                        <a:pt x="732" y="260"/>
                        <a:pt x="731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30" y="260"/>
                        <a:pt x="730" y="260"/>
                        <a:pt x="730" y="260"/>
                      </a:cubicBezTo>
                      <a:cubicBezTo>
                        <a:pt x="728" y="260"/>
                        <a:pt x="726" y="260"/>
                        <a:pt x="724" y="259"/>
                      </a:cubicBezTo>
                      <a:cubicBezTo>
                        <a:pt x="723" y="259"/>
                        <a:pt x="723" y="259"/>
                        <a:pt x="723" y="259"/>
                      </a:cubicBezTo>
                      <a:cubicBezTo>
                        <a:pt x="722" y="259"/>
                        <a:pt x="720" y="259"/>
                        <a:pt x="718" y="259"/>
                      </a:cubicBezTo>
                      <a:cubicBezTo>
                        <a:pt x="716" y="259"/>
                        <a:pt x="714" y="259"/>
                        <a:pt x="712" y="259"/>
                      </a:cubicBezTo>
                      <a:cubicBezTo>
                        <a:pt x="708" y="258"/>
                        <a:pt x="704" y="258"/>
                        <a:pt x="700" y="258"/>
                      </a:cubicBezTo>
                      <a:cubicBezTo>
                        <a:pt x="698" y="257"/>
                        <a:pt x="696" y="257"/>
                        <a:pt x="694" y="257"/>
                      </a:cubicBezTo>
                      <a:cubicBezTo>
                        <a:pt x="693" y="257"/>
                        <a:pt x="692" y="257"/>
                        <a:pt x="692" y="257"/>
                      </a:cubicBezTo>
                      <a:cubicBezTo>
                        <a:pt x="689" y="257"/>
                        <a:pt x="686" y="256"/>
                        <a:pt x="682" y="256"/>
                      </a:cubicBezTo>
                      <a:cubicBezTo>
                        <a:pt x="682" y="256"/>
                        <a:pt x="682" y="256"/>
                        <a:pt x="682" y="256"/>
                      </a:cubicBezTo>
                      <a:cubicBezTo>
                        <a:pt x="680" y="256"/>
                        <a:pt x="677" y="256"/>
                        <a:pt x="675" y="256"/>
                      </a:cubicBezTo>
                      <a:cubicBezTo>
                        <a:pt x="674" y="256"/>
                        <a:pt x="673" y="256"/>
                        <a:pt x="673" y="256"/>
                      </a:cubicBezTo>
                      <a:cubicBezTo>
                        <a:pt x="672" y="255"/>
                        <a:pt x="671" y="255"/>
                        <a:pt x="670" y="255"/>
                      </a:cubicBezTo>
                      <a:cubicBezTo>
                        <a:pt x="670" y="255"/>
                        <a:pt x="669" y="255"/>
                        <a:pt x="668" y="255"/>
                      </a:cubicBezTo>
                      <a:cubicBezTo>
                        <a:pt x="667" y="255"/>
                        <a:pt x="666" y="255"/>
                        <a:pt x="665" y="255"/>
                      </a:cubicBezTo>
                      <a:cubicBezTo>
                        <a:pt x="664" y="255"/>
                        <a:pt x="664" y="255"/>
                        <a:pt x="664" y="255"/>
                      </a:cubicBezTo>
                      <a:cubicBezTo>
                        <a:pt x="661" y="255"/>
                        <a:pt x="658" y="255"/>
                        <a:pt x="655" y="254"/>
                      </a:cubicBezTo>
                      <a:cubicBezTo>
                        <a:pt x="654" y="254"/>
                        <a:pt x="654" y="254"/>
                        <a:pt x="653" y="254"/>
                      </a:cubicBezTo>
                      <a:cubicBezTo>
                        <a:pt x="651" y="254"/>
                        <a:pt x="648" y="254"/>
                        <a:pt x="645" y="254"/>
                      </a:cubicBezTo>
                      <a:cubicBezTo>
                        <a:pt x="642" y="254"/>
                        <a:pt x="639" y="253"/>
                        <a:pt x="637" y="253"/>
                      </a:cubicBezTo>
                      <a:cubicBezTo>
                        <a:pt x="636" y="253"/>
                        <a:pt x="636" y="253"/>
                        <a:pt x="636" y="253"/>
                      </a:cubicBezTo>
                      <a:cubicBezTo>
                        <a:pt x="635" y="253"/>
                        <a:pt x="634" y="253"/>
                        <a:pt x="633" y="253"/>
                      </a:cubicBezTo>
                      <a:cubicBezTo>
                        <a:pt x="631" y="253"/>
                        <a:pt x="629" y="253"/>
                        <a:pt x="627" y="253"/>
                      </a:cubicBezTo>
                      <a:cubicBezTo>
                        <a:pt x="626" y="253"/>
                        <a:pt x="626" y="253"/>
                        <a:pt x="625" y="253"/>
                      </a:cubicBezTo>
                      <a:cubicBezTo>
                        <a:pt x="623" y="252"/>
                        <a:pt x="620" y="252"/>
                        <a:pt x="617" y="252"/>
                      </a:cubicBezTo>
                      <a:cubicBezTo>
                        <a:pt x="616" y="252"/>
                        <a:pt x="615" y="252"/>
                        <a:pt x="613" y="252"/>
                      </a:cubicBezTo>
                      <a:cubicBezTo>
                        <a:pt x="611" y="252"/>
                        <a:pt x="609" y="252"/>
                        <a:pt x="607" y="252"/>
                      </a:cubicBezTo>
                      <a:cubicBezTo>
                        <a:pt x="606" y="252"/>
                        <a:pt x="606" y="252"/>
                        <a:pt x="606" y="252"/>
                      </a:cubicBezTo>
                      <a:cubicBezTo>
                        <a:pt x="604" y="252"/>
                        <a:pt x="602" y="251"/>
                        <a:pt x="601" y="251"/>
                      </a:cubicBezTo>
                      <a:cubicBezTo>
                        <a:pt x="600" y="251"/>
                        <a:pt x="599" y="251"/>
                        <a:pt x="599" y="251"/>
                      </a:cubicBezTo>
                      <a:cubicBezTo>
                        <a:pt x="596" y="251"/>
                        <a:pt x="594" y="251"/>
                        <a:pt x="591" y="251"/>
                      </a:cubicBezTo>
                      <a:cubicBezTo>
                        <a:pt x="590" y="251"/>
                        <a:pt x="588" y="251"/>
                        <a:pt x="587" y="251"/>
                      </a:cubicBezTo>
                      <a:cubicBezTo>
                        <a:pt x="584" y="251"/>
                        <a:pt x="580" y="250"/>
                        <a:pt x="577" y="250"/>
                      </a:cubicBezTo>
                      <a:cubicBezTo>
                        <a:pt x="576" y="250"/>
                        <a:pt x="575" y="250"/>
                        <a:pt x="574" y="250"/>
                      </a:cubicBezTo>
                      <a:cubicBezTo>
                        <a:pt x="572" y="250"/>
                        <a:pt x="570" y="250"/>
                        <a:pt x="568" y="250"/>
                      </a:cubicBezTo>
                      <a:cubicBezTo>
                        <a:pt x="567" y="250"/>
                        <a:pt x="565" y="250"/>
                        <a:pt x="563" y="250"/>
                      </a:cubicBezTo>
                      <a:cubicBezTo>
                        <a:pt x="562" y="250"/>
                        <a:pt x="561" y="250"/>
                        <a:pt x="560" y="250"/>
                      </a:cubicBezTo>
                      <a:cubicBezTo>
                        <a:pt x="559" y="250"/>
                        <a:pt x="559" y="250"/>
                        <a:pt x="558" y="250"/>
                      </a:cubicBezTo>
                      <a:cubicBezTo>
                        <a:pt x="556" y="250"/>
                        <a:pt x="554" y="250"/>
                        <a:pt x="553" y="249"/>
                      </a:cubicBezTo>
                      <a:cubicBezTo>
                        <a:pt x="551" y="249"/>
                        <a:pt x="550" y="249"/>
                        <a:pt x="549" y="249"/>
                      </a:cubicBezTo>
                      <a:cubicBezTo>
                        <a:pt x="545" y="249"/>
                        <a:pt x="542" y="249"/>
                        <a:pt x="538" y="249"/>
                      </a:cubicBezTo>
                      <a:cubicBezTo>
                        <a:pt x="535" y="249"/>
                        <a:pt x="532" y="249"/>
                        <a:pt x="529" y="249"/>
                      </a:cubicBezTo>
                      <a:cubicBezTo>
                        <a:pt x="527" y="249"/>
                        <a:pt x="525" y="249"/>
                        <a:pt x="524" y="249"/>
                      </a:cubicBezTo>
                      <a:cubicBezTo>
                        <a:pt x="522" y="249"/>
                        <a:pt x="521" y="249"/>
                        <a:pt x="519" y="249"/>
                      </a:cubicBezTo>
                      <a:cubicBezTo>
                        <a:pt x="518" y="249"/>
                        <a:pt x="518" y="249"/>
                        <a:pt x="518" y="249"/>
                      </a:cubicBezTo>
                      <a:cubicBezTo>
                        <a:pt x="515" y="248"/>
                        <a:pt x="512" y="248"/>
                        <a:pt x="509" y="248"/>
                      </a:cubicBezTo>
                      <a:cubicBezTo>
                        <a:pt x="507" y="248"/>
                        <a:pt x="505" y="248"/>
                        <a:pt x="504" y="248"/>
                      </a:cubicBezTo>
                      <a:cubicBezTo>
                        <a:pt x="502" y="248"/>
                        <a:pt x="501" y="248"/>
                        <a:pt x="499" y="248"/>
                      </a:cubicBezTo>
                      <a:cubicBezTo>
                        <a:pt x="496" y="248"/>
                        <a:pt x="492" y="248"/>
                        <a:pt x="489" y="248"/>
                      </a:cubicBezTo>
                      <a:cubicBezTo>
                        <a:pt x="486" y="248"/>
                        <a:pt x="484" y="248"/>
                        <a:pt x="483" y="248"/>
                      </a:cubicBezTo>
                      <a:cubicBezTo>
                        <a:pt x="482" y="248"/>
                        <a:pt x="480" y="248"/>
                        <a:pt x="479" y="248"/>
                      </a:cubicBezTo>
                      <a:cubicBezTo>
                        <a:pt x="479" y="248"/>
                        <a:pt x="479" y="248"/>
                        <a:pt x="479" y="248"/>
                      </a:cubicBezTo>
                      <a:cubicBezTo>
                        <a:pt x="475" y="248"/>
                        <a:pt x="472" y="248"/>
                        <a:pt x="469" y="248"/>
                      </a:cubicBezTo>
                      <a:cubicBezTo>
                        <a:pt x="466" y="248"/>
                        <a:pt x="464" y="248"/>
                        <a:pt x="462" y="248"/>
                      </a:cubicBezTo>
                      <a:cubicBezTo>
                        <a:pt x="460" y="248"/>
                        <a:pt x="460" y="248"/>
                        <a:pt x="460" y="248"/>
                      </a:cubicBezTo>
                      <a:cubicBezTo>
                        <a:pt x="456" y="248"/>
                        <a:pt x="452" y="248"/>
                        <a:pt x="448" y="248"/>
                      </a:cubicBezTo>
                      <a:cubicBezTo>
                        <a:pt x="445" y="248"/>
                        <a:pt x="442" y="248"/>
                        <a:pt x="439" y="248"/>
                      </a:cubicBezTo>
                      <a:cubicBezTo>
                        <a:pt x="436" y="248"/>
                        <a:pt x="432" y="248"/>
                        <a:pt x="428" y="248"/>
                      </a:cubicBezTo>
                      <a:cubicBezTo>
                        <a:pt x="426" y="248"/>
                        <a:pt x="426" y="248"/>
                        <a:pt x="426" y="248"/>
                      </a:cubicBezTo>
                      <a:cubicBezTo>
                        <a:pt x="425" y="248"/>
                        <a:pt x="424" y="248"/>
                        <a:pt x="423" y="248"/>
                      </a:cubicBezTo>
                      <a:cubicBezTo>
                        <a:pt x="420" y="248"/>
                        <a:pt x="420" y="248"/>
                        <a:pt x="420" y="248"/>
                      </a:cubicBezTo>
                      <a:cubicBezTo>
                        <a:pt x="419" y="248"/>
                        <a:pt x="418" y="248"/>
                        <a:pt x="418" y="248"/>
                      </a:cubicBezTo>
                      <a:cubicBezTo>
                        <a:pt x="416" y="248"/>
                        <a:pt x="414" y="248"/>
                        <a:pt x="412" y="248"/>
                      </a:cubicBezTo>
                      <a:cubicBezTo>
                        <a:pt x="408" y="248"/>
                        <a:pt x="404" y="248"/>
                        <a:pt x="400" y="248"/>
                      </a:cubicBezTo>
                      <a:cubicBezTo>
                        <a:pt x="398" y="248"/>
                        <a:pt x="395" y="248"/>
                        <a:pt x="392" y="248"/>
                      </a:cubicBezTo>
                      <a:cubicBezTo>
                        <a:pt x="391" y="248"/>
                        <a:pt x="391" y="248"/>
                        <a:pt x="391" y="248"/>
                      </a:cubicBezTo>
                      <a:cubicBezTo>
                        <a:pt x="388" y="248"/>
                        <a:pt x="384" y="248"/>
                        <a:pt x="380" y="248"/>
                      </a:cubicBezTo>
                      <a:cubicBezTo>
                        <a:pt x="378" y="248"/>
                        <a:pt x="375" y="248"/>
                        <a:pt x="37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9" y="248"/>
                        <a:pt x="367" y="249"/>
                        <a:pt x="365" y="249"/>
                      </a:cubicBezTo>
                      <a:cubicBezTo>
                        <a:pt x="364" y="249"/>
                        <a:pt x="362" y="249"/>
                        <a:pt x="360" y="249"/>
                      </a:cubicBezTo>
                      <a:cubicBezTo>
                        <a:pt x="359" y="249"/>
                        <a:pt x="357" y="249"/>
                        <a:pt x="355" y="249"/>
                      </a:cubicBezTo>
                      <a:cubicBezTo>
                        <a:pt x="354" y="249"/>
                        <a:pt x="354" y="249"/>
                        <a:pt x="354" y="249"/>
                      </a:cubicBezTo>
                      <a:cubicBezTo>
                        <a:pt x="353" y="249"/>
                        <a:pt x="352" y="249"/>
                        <a:pt x="351" y="249"/>
                      </a:cubicBezTo>
                      <a:cubicBezTo>
                        <a:pt x="347" y="249"/>
                        <a:pt x="344" y="249"/>
                        <a:pt x="340" y="249"/>
                      </a:cubicBezTo>
                      <a:cubicBezTo>
                        <a:pt x="340" y="249"/>
                        <a:pt x="340" y="249"/>
                        <a:pt x="340" y="249"/>
                      </a:cubicBezTo>
                      <a:cubicBezTo>
                        <a:pt x="337" y="249"/>
                        <a:pt x="334" y="249"/>
                        <a:pt x="331" y="249"/>
                      </a:cubicBezTo>
                      <a:cubicBezTo>
                        <a:pt x="328" y="250"/>
                        <a:pt x="325" y="250"/>
                        <a:pt x="322" y="250"/>
                      </a:cubicBezTo>
                      <a:cubicBezTo>
                        <a:pt x="321" y="250"/>
                        <a:pt x="320" y="250"/>
                        <a:pt x="319" y="250"/>
                      </a:cubicBezTo>
                      <a:cubicBezTo>
                        <a:pt x="316" y="250"/>
                        <a:pt x="314" y="250"/>
                        <a:pt x="311" y="250"/>
                      </a:cubicBezTo>
                      <a:cubicBezTo>
                        <a:pt x="311" y="250"/>
                        <a:pt x="311" y="250"/>
                        <a:pt x="311" y="250"/>
                      </a:cubicBezTo>
                      <a:cubicBezTo>
                        <a:pt x="307" y="250"/>
                        <a:pt x="303" y="251"/>
                        <a:pt x="300" y="251"/>
                      </a:cubicBezTo>
                      <a:cubicBezTo>
                        <a:pt x="299" y="251"/>
                        <a:pt x="299" y="251"/>
                        <a:pt x="299" y="251"/>
                      </a:cubicBezTo>
                      <a:cubicBezTo>
                        <a:pt x="296" y="251"/>
                        <a:pt x="293" y="251"/>
                        <a:pt x="291" y="251"/>
                      </a:cubicBezTo>
                      <a:cubicBezTo>
                        <a:pt x="287" y="251"/>
                        <a:pt x="283" y="251"/>
                        <a:pt x="279" y="252"/>
                      </a:cubicBezTo>
                      <a:cubicBezTo>
                        <a:pt x="279" y="252"/>
                        <a:pt x="279" y="252"/>
                        <a:pt x="279" y="252"/>
                      </a:cubicBezTo>
                      <a:cubicBezTo>
                        <a:pt x="277" y="252"/>
                        <a:pt x="276" y="252"/>
                        <a:pt x="275" y="252"/>
                      </a:cubicBezTo>
                      <a:cubicBezTo>
                        <a:pt x="274" y="252"/>
                        <a:pt x="272" y="252"/>
                        <a:pt x="271" y="252"/>
                      </a:cubicBezTo>
                      <a:cubicBezTo>
                        <a:pt x="266" y="252"/>
                        <a:pt x="261" y="252"/>
                        <a:pt x="256" y="253"/>
                      </a:cubicBezTo>
                      <a:cubicBezTo>
                        <a:pt x="255" y="253"/>
                        <a:pt x="253" y="253"/>
                        <a:pt x="251" y="253"/>
                      </a:cubicBezTo>
                      <a:cubicBezTo>
                        <a:pt x="244" y="253"/>
                        <a:pt x="238" y="254"/>
                        <a:pt x="231" y="254"/>
                      </a:cubicBezTo>
                      <a:cubicBezTo>
                        <a:pt x="230" y="254"/>
                        <a:pt x="229" y="254"/>
                        <a:pt x="228" y="255"/>
                      </a:cubicBezTo>
                      <a:cubicBezTo>
                        <a:pt x="227" y="255"/>
                        <a:pt x="226" y="255"/>
                        <a:pt x="225" y="255"/>
                      </a:cubicBezTo>
                      <a:cubicBezTo>
                        <a:pt x="223" y="255"/>
                        <a:pt x="221" y="255"/>
                        <a:pt x="219" y="255"/>
                      </a:cubicBezTo>
                      <a:cubicBezTo>
                        <a:pt x="217" y="255"/>
                        <a:pt x="214" y="255"/>
                        <a:pt x="211" y="256"/>
                      </a:cubicBezTo>
                      <a:cubicBezTo>
                        <a:pt x="209" y="256"/>
                        <a:pt x="208" y="256"/>
                        <a:pt x="206" y="256"/>
                      </a:cubicBezTo>
                      <a:cubicBezTo>
                        <a:pt x="206" y="256"/>
                        <a:pt x="205" y="256"/>
                        <a:pt x="205" y="256"/>
                      </a:cubicBezTo>
                      <a:cubicBezTo>
                        <a:pt x="200" y="256"/>
                        <a:pt x="196" y="257"/>
                        <a:pt x="192" y="257"/>
                      </a:cubicBezTo>
                      <a:cubicBezTo>
                        <a:pt x="190" y="257"/>
                        <a:pt x="189" y="257"/>
                        <a:pt x="187" y="257"/>
                      </a:cubicBezTo>
                      <a:cubicBezTo>
                        <a:pt x="186" y="257"/>
                        <a:pt x="185" y="258"/>
                        <a:pt x="183" y="258"/>
                      </a:cubicBezTo>
                      <a:cubicBezTo>
                        <a:pt x="182" y="258"/>
                        <a:pt x="181" y="258"/>
                        <a:pt x="180" y="258"/>
                      </a:cubicBezTo>
                      <a:cubicBezTo>
                        <a:pt x="177" y="258"/>
                        <a:pt x="174" y="258"/>
                        <a:pt x="172" y="259"/>
                      </a:cubicBezTo>
                      <a:cubicBezTo>
                        <a:pt x="163" y="259"/>
                        <a:pt x="163" y="259"/>
                        <a:pt x="163" y="259"/>
                      </a:cubicBezTo>
                      <a:cubicBezTo>
                        <a:pt x="162" y="259"/>
                        <a:pt x="160" y="260"/>
                        <a:pt x="159" y="260"/>
                      </a:cubicBezTo>
                      <a:cubicBezTo>
                        <a:pt x="156" y="260"/>
                        <a:pt x="154" y="260"/>
                        <a:pt x="152" y="260"/>
                      </a:cubicBezTo>
                      <a:cubicBezTo>
                        <a:pt x="150" y="260"/>
                        <a:pt x="149" y="261"/>
                        <a:pt x="147" y="261"/>
                      </a:cubicBezTo>
                      <a:cubicBezTo>
                        <a:pt x="146" y="261"/>
                        <a:pt x="145" y="261"/>
                        <a:pt x="144" y="261"/>
                      </a:cubicBezTo>
                      <a:cubicBezTo>
                        <a:pt x="140" y="261"/>
                        <a:pt x="136" y="262"/>
                        <a:pt x="132" y="262"/>
                      </a:cubicBezTo>
                      <a:cubicBezTo>
                        <a:pt x="129" y="262"/>
                        <a:pt x="127" y="263"/>
                        <a:pt x="124" y="263"/>
                      </a:cubicBezTo>
                      <a:cubicBezTo>
                        <a:pt x="120" y="263"/>
                        <a:pt x="116" y="264"/>
                        <a:pt x="112" y="264"/>
                      </a:cubicBezTo>
                      <a:cubicBezTo>
                        <a:pt x="110" y="264"/>
                        <a:pt x="107" y="265"/>
                        <a:pt x="104" y="265"/>
                      </a:cubicBezTo>
                      <a:cubicBezTo>
                        <a:pt x="104" y="265"/>
                        <a:pt x="104" y="265"/>
                        <a:pt x="104" y="265"/>
                      </a:cubicBezTo>
                      <a:cubicBezTo>
                        <a:pt x="81" y="258"/>
                        <a:pt x="61" y="251"/>
                        <a:pt x="45" y="242"/>
                      </a:cubicBezTo>
                      <a:cubicBezTo>
                        <a:pt x="43" y="241"/>
                        <a:pt x="42" y="176"/>
                        <a:pt x="40" y="175"/>
                      </a:cubicBezTo>
                      <a:cubicBezTo>
                        <a:pt x="40" y="175"/>
                        <a:pt x="39" y="175"/>
                        <a:pt x="39" y="175"/>
                      </a:cubicBezTo>
                      <a:cubicBezTo>
                        <a:pt x="37" y="174"/>
                        <a:pt x="36" y="173"/>
                        <a:pt x="35" y="173"/>
                      </a:cubicBezTo>
                      <a:cubicBezTo>
                        <a:pt x="35" y="172"/>
                        <a:pt x="34" y="172"/>
                        <a:pt x="33" y="171"/>
                      </a:cubicBezTo>
                      <a:cubicBezTo>
                        <a:pt x="32" y="171"/>
                        <a:pt x="32" y="170"/>
                        <a:pt x="31" y="170"/>
                      </a:cubicBezTo>
                      <a:cubicBezTo>
                        <a:pt x="30" y="169"/>
                        <a:pt x="29" y="169"/>
                        <a:pt x="29" y="169"/>
                      </a:cubicBezTo>
                      <a:cubicBezTo>
                        <a:pt x="28" y="168"/>
                        <a:pt x="27" y="167"/>
                        <a:pt x="26" y="167"/>
                      </a:cubicBezTo>
                      <a:cubicBezTo>
                        <a:pt x="26" y="166"/>
                        <a:pt x="25" y="166"/>
                        <a:pt x="25" y="166"/>
                      </a:cubicBezTo>
                      <a:cubicBezTo>
                        <a:pt x="24" y="165"/>
                        <a:pt x="23" y="164"/>
                        <a:pt x="22" y="164"/>
                      </a:cubicBezTo>
                      <a:cubicBezTo>
                        <a:pt x="22" y="163"/>
                        <a:pt x="21" y="163"/>
                        <a:pt x="21" y="163"/>
                      </a:cubicBezTo>
                      <a:cubicBezTo>
                        <a:pt x="20" y="162"/>
                        <a:pt x="19" y="161"/>
                        <a:pt x="18" y="161"/>
                      </a:cubicBezTo>
                      <a:cubicBezTo>
                        <a:pt x="18" y="160"/>
                        <a:pt x="17" y="160"/>
                        <a:pt x="17" y="160"/>
                      </a:cubicBezTo>
                      <a:cubicBezTo>
                        <a:pt x="16" y="159"/>
                        <a:pt x="15" y="158"/>
                        <a:pt x="14" y="157"/>
                      </a:cubicBezTo>
                      <a:cubicBezTo>
                        <a:pt x="13" y="156"/>
                        <a:pt x="12" y="155"/>
                        <a:pt x="11" y="154"/>
                      </a:cubicBezTo>
                      <a:cubicBezTo>
                        <a:pt x="10" y="153"/>
                        <a:pt x="10" y="153"/>
                        <a:pt x="10" y="153"/>
                      </a:cubicBezTo>
                      <a:cubicBezTo>
                        <a:pt x="10" y="152"/>
                        <a:pt x="9" y="152"/>
                        <a:pt x="9" y="151"/>
                      </a:cubicBezTo>
                      <a:cubicBezTo>
                        <a:pt x="8" y="150"/>
                        <a:pt x="8" y="150"/>
                        <a:pt x="8" y="150"/>
                      </a:cubicBezTo>
                      <a:cubicBezTo>
                        <a:pt x="7" y="149"/>
                        <a:pt x="7" y="149"/>
                        <a:pt x="6" y="148"/>
                      </a:cubicBezTo>
                      <a:cubicBezTo>
                        <a:pt x="6" y="148"/>
                        <a:pt x="6" y="147"/>
                        <a:pt x="5" y="147"/>
                      </a:cubicBezTo>
                      <a:cubicBezTo>
                        <a:pt x="5" y="146"/>
                        <a:pt x="5" y="145"/>
                        <a:pt x="4" y="145"/>
                      </a:cubicBezTo>
                      <a:cubicBezTo>
                        <a:pt x="4" y="145"/>
                        <a:pt x="4" y="144"/>
                        <a:pt x="4" y="144"/>
                      </a:cubicBezTo>
                      <a:cubicBezTo>
                        <a:pt x="3" y="143"/>
                        <a:pt x="3" y="142"/>
                        <a:pt x="3" y="142"/>
                      </a:cubicBezTo>
                      <a:cubicBezTo>
                        <a:pt x="3" y="141"/>
                        <a:pt x="2" y="141"/>
                        <a:pt x="2" y="141"/>
                      </a:cubicBezTo>
                      <a:cubicBezTo>
                        <a:pt x="2" y="140"/>
                        <a:pt x="2" y="139"/>
                        <a:pt x="1" y="139"/>
                      </a:cubicBezTo>
                      <a:cubicBezTo>
                        <a:pt x="1" y="138"/>
                        <a:pt x="1" y="138"/>
                        <a:pt x="1" y="138"/>
                      </a:cubicBez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134"/>
                        <a:pt x="0" y="133"/>
                        <a:pt x="0" y="132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30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30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27"/>
                        <a:pt x="0" y="126"/>
                        <a:pt x="0" y="125"/>
                      </a:cubicBezTo>
                      <a:cubicBezTo>
                        <a:pt x="0" y="124"/>
                        <a:pt x="0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19"/>
                        <a:pt x="1" y="118"/>
                        <a:pt x="2" y="117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3" y="115"/>
                        <a:pt x="3" y="114"/>
                        <a:pt x="4" y="113"/>
                      </a:cubicBezTo>
                      <a:cubicBezTo>
                        <a:pt x="5" y="112"/>
                        <a:pt x="5" y="111"/>
                        <a:pt x="6" y="110"/>
                      </a:cubicBezTo>
                      <a:cubicBezTo>
                        <a:pt x="7" y="109"/>
                        <a:pt x="7" y="109"/>
                        <a:pt x="7" y="109"/>
                      </a:cubicBezTo>
                      <a:cubicBezTo>
                        <a:pt x="7" y="108"/>
                        <a:pt x="8" y="107"/>
                        <a:pt x="9" y="106"/>
                      </a:cubicBezTo>
                      <a:cubicBezTo>
                        <a:pt x="9" y="105"/>
                        <a:pt x="9" y="105"/>
                        <a:pt x="9" y="105"/>
                      </a:cubicBezTo>
                      <a:cubicBezTo>
                        <a:pt x="10" y="104"/>
                        <a:pt x="11" y="103"/>
                        <a:pt x="12" y="102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14" y="100"/>
                        <a:pt x="15" y="99"/>
                        <a:pt x="16" y="98"/>
                      </a:cubicBezTo>
                      <a:cubicBezTo>
                        <a:pt x="17" y="98"/>
                        <a:pt x="17" y="98"/>
                        <a:pt x="17" y="98"/>
                      </a:cubicBezTo>
                      <a:cubicBezTo>
                        <a:pt x="18" y="96"/>
                        <a:pt x="19" y="95"/>
                        <a:pt x="21" y="94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3" y="93"/>
                        <a:pt x="24" y="92"/>
                        <a:pt x="25" y="91"/>
                      </a:cubicBezTo>
                      <a:cubicBezTo>
                        <a:pt x="26" y="91"/>
                        <a:pt x="26" y="90"/>
                        <a:pt x="27" y="90"/>
                      </a:cubicBezTo>
                      <a:cubicBezTo>
                        <a:pt x="28" y="89"/>
                        <a:pt x="30" y="88"/>
                        <a:pt x="31" y="87"/>
                      </a:cubicBezTo>
                      <a:cubicBezTo>
                        <a:pt x="33" y="86"/>
                        <a:pt x="35" y="85"/>
                        <a:pt x="37" y="84"/>
                      </a:cubicBezTo>
                      <a:cubicBezTo>
                        <a:pt x="37" y="83"/>
                        <a:pt x="38" y="83"/>
                        <a:pt x="38" y="83"/>
                      </a:cubicBezTo>
                      <a:cubicBezTo>
                        <a:pt x="40" y="82"/>
                        <a:pt x="41" y="81"/>
                        <a:pt x="43" y="80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6" y="79"/>
                        <a:pt x="48" y="78"/>
                        <a:pt x="50" y="77"/>
                      </a:cubicBezTo>
                      <a:cubicBezTo>
                        <a:pt x="51" y="76"/>
                        <a:pt x="51" y="76"/>
                        <a:pt x="52" y="76"/>
                      </a:cubicBezTo>
                      <a:cubicBezTo>
                        <a:pt x="53" y="75"/>
                        <a:pt x="55" y="74"/>
                        <a:pt x="57" y="73"/>
                      </a:cubicBezTo>
                      <a:cubicBezTo>
                        <a:pt x="57" y="73"/>
                        <a:pt x="58" y="73"/>
                        <a:pt x="59" y="73"/>
                      </a:cubicBezTo>
                      <a:cubicBezTo>
                        <a:pt x="61" y="72"/>
                        <a:pt x="63" y="71"/>
                        <a:pt x="65" y="70"/>
                      </a:cubicBezTo>
                      <a:cubicBezTo>
                        <a:pt x="66" y="70"/>
                        <a:pt x="66" y="69"/>
                        <a:pt x="67" y="69"/>
                      </a:cubicBezTo>
                      <a:cubicBezTo>
                        <a:pt x="69" y="68"/>
                        <a:pt x="71" y="68"/>
                        <a:pt x="73" y="67"/>
                      </a:cubicBezTo>
                      <a:cubicBezTo>
                        <a:pt x="74" y="66"/>
                        <a:pt x="74" y="66"/>
                        <a:pt x="75" y="66"/>
                      </a:cubicBezTo>
                      <a:cubicBezTo>
                        <a:pt x="78" y="65"/>
                        <a:pt x="80" y="64"/>
                        <a:pt x="83" y="63"/>
                      </a:cubicBezTo>
                      <a:cubicBezTo>
                        <a:pt x="86" y="62"/>
                        <a:pt x="88" y="61"/>
                        <a:pt x="91" y="60"/>
                      </a:cubicBezTo>
                      <a:cubicBezTo>
                        <a:pt x="92" y="60"/>
                        <a:pt x="93" y="60"/>
                        <a:pt x="93" y="60"/>
                      </a:cubicBezTo>
                      <a:cubicBezTo>
                        <a:pt x="96" y="59"/>
                        <a:pt x="98" y="58"/>
                        <a:pt x="101" y="57"/>
                      </a:cubicBezTo>
                      <a:cubicBezTo>
                        <a:pt x="101" y="57"/>
                        <a:pt x="102" y="57"/>
                        <a:pt x="102" y="57"/>
                      </a:cubicBezTo>
                      <a:cubicBezTo>
                        <a:pt x="105" y="56"/>
                        <a:pt x="108" y="55"/>
                        <a:pt x="111" y="54"/>
                      </a:cubicBezTo>
                      <a:cubicBezTo>
                        <a:pt x="112" y="54"/>
                        <a:pt x="113" y="54"/>
                        <a:pt x="113" y="54"/>
                      </a:cubicBezTo>
                      <a:cubicBezTo>
                        <a:pt x="116" y="53"/>
                        <a:pt x="118" y="52"/>
                        <a:pt x="121" y="51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26" y="50"/>
                        <a:pt x="130" y="49"/>
                        <a:pt x="133" y="48"/>
                      </a:cubicBezTo>
                      <a:cubicBezTo>
                        <a:pt x="134" y="48"/>
                        <a:pt x="134" y="48"/>
                        <a:pt x="135" y="48"/>
                      </a:cubicBezTo>
                      <a:cubicBezTo>
                        <a:pt x="138" y="47"/>
                        <a:pt x="140" y="47"/>
                        <a:pt x="143" y="46"/>
                      </a:cubicBezTo>
                      <a:cubicBezTo>
                        <a:pt x="144" y="46"/>
                        <a:pt x="145" y="45"/>
                        <a:pt x="146" y="45"/>
                      </a:cubicBezTo>
                      <a:cubicBezTo>
                        <a:pt x="150" y="44"/>
                        <a:pt x="153" y="44"/>
                        <a:pt x="157" y="43"/>
                      </a:cubicBezTo>
                      <a:cubicBezTo>
                        <a:pt x="160" y="42"/>
                        <a:pt x="164" y="41"/>
                        <a:pt x="168" y="41"/>
                      </a:cubicBezTo>
                      <a:cubicBezTo>
                        <a:pt x="169" y="40"/>
                        <a:pt x="170" y="40"/>
                        <a:pt x="171" y="40"/>
                      </a:cubicBezTo>
                      <a:cubicBezTo>
                        <a:pt x="174" y="39"/>
                        <a:pt x="177" y="39"/>
                        <a:pt x="180" y="38"/>
                      </a:cubicBezTo>
                      <a:cubicBezTo>
                        <a:pt x="181" y="38"/>
                        <a:pt x="182" y="38"/>
                        <a:pt x="182" y="38"/>
                      </a:cubicBezTo>
                      <a:cubicBezTo>
                        <a:pt x="186" y="37"/>
                        <a:pt x="190" y="36"/>
                        <a:pt x="194" y="36"/>
                      </a:cubicBezTo>
                      <a:cubicBezTo>
                        <a:pt x="195" y="36"/>
                        <a:pt x="196" y="35"/>
                        <a:pt x="197" y="35"/>
                      </a:cubicBezTo>
                      <a:cubicBezTo>
                        <a:pt x="200" y="35"/>
                        <a:pt x="203" y="34"/>
                        <a:pt x="206" y="34"/>
                      </a:cubicBezTo>
                      <a:cubicBezTo>
                        <a:pt x="207" y="34"/>
                        <a:pt x="208" y="33"/>
                        <a:pt x="209" y="33"/>
                      </a:cubicBezTo>
                      <a:cubicBezTo>
                        <a:pt x="213" y="33"/>
                        <a:pt x="218" y="32"/>
                        <a:pt x="222" y="31"/>
                      </a:cubicBezTo>
                      <a:cubicBezTo>
                        <a:pt x="222" y="31"/>
                        <a:pt x="223" y="31"/>
                        <a:pt x="224" y="31"/>
                      </a:cubicBezTo>
                      <a:cubicBezTo>
                        <a:pt x="228" y="31"/>
                        <a:pt x="231" y="30"/>
                        <a:pt x="235" y="30"/>
                      </a:cubicBezTo>
                      <a:cubicBezTo>
                        <a:pt x="236" y="29"/>
                        <a:pt x="237" y="29"/>
                        <a:pt x="238" y="29"/>
                      </a:cubicBezTo>
                      <a:cubicBezTo>
                        <a:pt x="243" y="29"/>
                        <a:pt x="247" y="28"/>
                        <a:pt x="251" y="27"/>
                      </a:cubicBezTo>
                      <a:cubicBezTo>
                        <a:pt x="474" y="0"/>
                        <a:pt x="744" y="24"/>
                        <a:pt x="853" y="80"/>
                      </a:cubicBezTo>
                      <a:cubicBezTo>
                        <a:pt x="855" y="81"/>
                        <a:pt x="857" y="82"/>
                        <a:pt x="858" y="83"/>
                      </a:cubicBezTo>
                      <a:cubicBezTo>
                        <a:pt x="859" y="83"/>
                        <a:pt x="859" y="84"/>
                        <a:pt x="860" y="84"/>
                      </a:cubicBezTo>
                      <a:cubicBezTo>
                        <a:pt x="861" y="84"/>
                        <a:pt x="862" y="85"/>
                        <a:pt x="863" y="86"/>
                      </a:cubicBezTo>
                      <a:cubicBezTo>
                        <a:pt x="864" y="86"/>
                        <a:pt x="865" y="87"/>
                        <a:pt x="865" y="87"/>
                      </a:cubicBezTo>
                      <a:cubicBezTo>
                        <a:pt x="866" y="87"/>
                        <a:pt x="867" y="88"/>
                        <a:pt x="868" y="89"/>
                      </a:cubicBezTo>
                      <a:cubicBezTo>
                        <a:pt x="869" y="89"/>
                        <a:pt x="869" y="89"/>
                        <a:pt x="870" y="90"/>
                      </a:cubicBezTo>
                      <a:cubicBezTo>
                        <a:pt x="871" y="90"/>
                        <a:pt x="872" y="91"/>
                        <a:pt x="872" y="92"/>
                      </a:cubicBezTo>
                      <a:cubicBezTo>
                        <a:pt x="873" y="92"/>
                        <a:pt x="873" y="92"/>
                        <a:pt x="874" y="93"/>
                      </a:cubicBezTo>
                      <a:cubicBezTo>
                        <a:pt x="875" y="93"/>
                        <a:pt x="876" y="94"/>
                        <a:pt x="876" y="95"/>
                      </a:cubicBezTo>
                      <a:cubicBezTo>
                        <a:pt x="877" y="95"/>
                        <a:pt x="877" y="95"/>
                        <a:pt x="878" y="96"/>
                      </a:cubicBezTo>
                      <a:cubicBezTo>
                        <a:pt x="879" y="96"/>
                        <a:pt x="880" y="97"/>
                        <a:pt x="880" y="98"/>
                      </a:cubicBezTo>
                      <a:cubicBezTo>
                        <a:pt x="881" y="99"/>
                        <a:pt x="881" y="99"/>
                        <a:pt x="881" y="99"/>
                      </a:cubicBezTo>
                      <a:cubicBezTo>
                        <a:pt x="883" y="100"/>
                        <a:pt x="884" y="101"/>
                        <a:pt x="885" y="102"/>
                      </a:cubicBezTo>
                      <a:cubicBezTo>
                        <a:pt x="886" y="103"/>
                        <a:pt x="887" y="104"/>
                        <a:pt x="888" y="105"/>
                      </a:cubicBezTo>
                      <a:cubicBezTo>
                        <a:pt x="888" y="106"/>
                        <a:pt x="888" y="106"/>
                        <a:pt x="888" y="106"/>
                      </a:cubicBezTo>
                      <a:cubicBezTo>
                        <a:pt x="889" y="106"/>
                        <a:pt x="890" y="107"/>
                        <a:pt x="890" y="107"/>
                      </a:cubicBezTo>
                      <a:cubicBezTo>
                        <a:pt x="890" y="108"/>
                        <a:pt x="891" y="108"/>
                        <a:pt x="891" y="109"/>
                      </a:cubicBezTo>
                      <a:cubicBezTo>
                        <a:pt x="891" y="109"/>
                        <a:pt x="892" y="110"/>
                        <a:pt x="892" y="110"/>
                      </a:cubicBezTo>
                      <a:cubicBezTo>
                        <a:pt x="893" y="111"/>
                        <a:pt x="893" y="111"/>
                        <a:pt x="893" y="112"/>
                      </a:cubicBezTo>
                      <a:cubicBezTo>
                        <a:pt x="893" y="112"/>
                        <a:pt x="894" y="113"/>
                        <a:pt x="894" y="113"/>
                      </a:cubicBezTo>
                      <a:cubicBezTo>
                        <a:pt x="894" y="114"/>
                        <a:pt x="895" y="114"/>
                        <a:pt x="895" y="115"/>
                      </a:cubicBezTo>
                      <a:cubicBezTo>
                        <a:pt x="895" y="115"/>
                        <a:pt x="896" y="116"/>
                        <a:pt x="896" y="116"/>
                      </a:cubicBezTo>
                      <a:cubicBezTo>
                        <a:pt x="896" y="117"/>
                        <a:pt x="896" y="117"/>
                        <a:pt x="896" y="118"/>
                      </a:cubicBezTo>
                      <a:cubicBezTo>
                        <a:pt x="897" y="118"/>
                        <a:pt x="897" y="119"/>
                        <a:pt x="897" y="120"/>
                      </a:cubicBezTo>
                      <a:cubicBezTo>
                        <a:pt x="897" y="121"/>
                        <a:pt x="897" y="121"/>
                        <a:pt x="897" y="121"/>
                      </a:cubicBezTo>
                      <a:cubicBezTo>
                        <a:pt x="898" y="122"/>
                        <a:pt x="898" y="123"/>
                        <a:pt x="898" y="124"/>
                      </a:cubicBezTo>
                      <a:cubicBezTo>
                        <a:pt x="899" y="125"/>
                        <a:pt x="899" y="126"/>
                        <a:pt x="899" y="127"/>
                      </a:cubicBezTo>
                      <a:cubicBezTo>
                        <a:pt x="899" y="127"/>
                        <a:pt x="899" y="127"/>
                        <a:pt x="899" y="127"/>
                      </a:cubicBezTo>
                      <a:cubicBezTo>
                        <a:pt x="899" y="128"/>
                        <a:pt x="899" y="129"/>
                        <a:pt x="899" y="129"/>
                      </a:cubicBezTo>
                    </a:path>
                  </a:pathLst>
                </a:custGeom>
                <a:solidFill>
                  <a:srgbClr val="0094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36" name="Freeform 54">
                  <a:extLst>
                    <a:ext uri="{FF2B5EF4-FFF2-40B4-BE49-F238E27FC236}">
                      <a16:creationId xmlns:a16="http://schemas.microsoft.com/office/drawing/2014/main" id="{84290FC1-8310-1EDA-2444-6C9D595D6A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8705" y="1545143"/>
                  <a:ext cx="1948685" cy="542967"/>
                </a:xfrm>
                <a:custGeom>
                  <a:avLst/>
                  <a:gdLst>
                    <a:gd name="T0" fmla="*/ 224 w 899"/>
                    <a:gd name="T1" fmla="*/ 15 h 250"/>
                    <a:gd name="T2" fmla="*/ 194 w 899"/>
                    <a:gd name="T3" fmla="*/ 20 h 250"/>
                    <a:gd name="T4" fmla="*/ 157 w 899"/>
                    <a:gd name="T5" fmla="*/ 27 h 250"/>
                    <a:gd name="T6" fmla="*/ 123 w 899"/>
                    <a:gd name="T7" fmla="*/ 35 h 250"/>
                    <a:gd name="T8" fmla="*/ 101 w 899"/>
                    <a:gd name="T9" fmla="*/ 41 h 250"/>
                    <a:gd name="T10" fmla="*/ 73 w 899"/>
                    <a:gd name="T11" fmla="*/ 51 h 250"/>
                    <a:gd name="T12" fmla="*/ 52 w 899"/>
                    <a:gd name="T13" fmla="*/ 60 h 250"/>
                    <a:gd name="T14" fmla="*/ 37 w 899"/>
                    <a:gd name="T15" fmla="*/ 68 h 250"/>
                    <a:gd name="T16" fmla="*/ 21 w 899"/>
                    <a:gd name="T17" fmla="*/ 78 h 250"/>
                    <a:gd name="T18" fmla="*/ 9 w 899"/>
                    <a:gd name="T19" fmla="*/ 89 h 250"/>
                    <a:gd name="T20" fmla="*/ 2 w 899"/>
                    <a:gd name="T21" fmla="*/ 100 h 250"/>
                    <a:gd name="T22" fmla="*/ 0 w 899"/>
                    <a:gd name="T23" fmla="*/ 109 h 250"/>
                    <a:gd name="T24" fmla="*/ 0 w 899"/>
                    <a:gd name="T25" fmla="*/ 113 h 250"/>
                    <a:gd name="T26" fmla="*/ 0 w 899"/>
                    <a:gd name="T27" fmla="*/ 116 h 250"/>
                    <a:gd name="T28" fmla="*/ 3 w 899"/>
                    <a:gd name="T29" fmla="*/ 126 h 250"/>
                    <a:gd name="T30" fmla="*/ 8 w 899"/>
                    <a:gd name="T31" fmla="*/ 134 h 250"/>
                    <a:gd name="T32" fmla="*/ 17 w 899"/>
                    <a:gd name="T33" fmla="*/ 144 h 250"/>
                    <a:gd name="T34" fmla="*/ 26 w 899"/>
                    <a:gd name="T35" fmla="*/ 151 h 250"/>
                    <a:gd name="T36" fmla="*/ 39 w 899"/>
                    <a:gd name="T37" fmla="*/ 159 h 250"/>
                    <a:gd name="T38" fmla="*/ 112 w 899"/>
                    <a:gd name="T39" fmla="*/ 248 h 250"/>
                    <a:gd name="T40" fmla="*/ 152 w 899"/>
                    <a:gd name="T41" fmla="*/ 244 h 250"/>
                    <a:gd name="T42" fmla="*/ 183 w 899"/>
                    <a:gd name="T43" fmla="*/ 242 h 250"/>
                    <a:gd name="T44" fmla="*/ 211 w 899"/>
                    <a:gd name="T45" fmla="*/ 240 h 250"/>
                    <a:gd name="T46" fmla="*/ 251 w 899"/>
                    <a:gd name="T47" fmla="*/ 237 h 250"/>
                    <a:gd name="T48" fmla="*/ 279 w 899"/>
                    <a:gd name="T49" fmla="*/ 236 h 250"/>
                    <a:gd name="T50" fmla="*/ 311 w 899"/>
                    <a:gd name="T51" fmla="*/ 234 h 250"/>
                    <a:gd name="T52" fmla="*/ 340 w 899"/>
                    <a:gd name="T53" fmla="*/ 233 h 250"/>
                    <a:gd name="T54" fmla="*/ 365 w 899"/>
                    <a:gd name="T55" fmla="*/ 233 h 250"/>
                    <a:gd name="T56" fmla="*/ 391 w 899"/>
                    <a:gd name="T57" fmla="*/ 232 h 250"/>
                    <a:gd name="T58" fmla="*/ 420 w 899"/>
                    <a:gd name="T59" fmla="*/ 232 h 250"/>
                    <a:gd name="T60" fmla="*/ 448 w 899"/>
                    <a:gd name="T61" fmla="*/ 232 h 250"/>
                    <a:gd name="T62" fmla="*/ 479 w 899"/>
                    <a:gd name="T63" fmla="*/ 232 h 250"/>
                    <a:gd name="T64" fmla="*/ 509 w 899"/>
                    <a:gd name="T65" fmla="*/ 232 h 250"/>
                    <a:gd name="T66" fmla="*/ 538 w 899"/>
                    <a:gd name="T67" fmla="*/ 233 h 250"/>
                    <a:gd name="T68" fmla="*/ 563 w 899"/>
                    <a:gd name="T69" fmla="*/ 234 h 250"/>
                    <a:gd name="T70" fmla="*/ 591 w 899"/>
                    <a:gd name="T71" fmla="*/ 235 h 250"/>
                    <a:gd name="T72" fmla="*/ 613 w 899"/>
                    <a:gd name="T73" fmla="*/ 236 h 250"/>
                    <a:gd name="T74" fmla="*/ 636 w 899"/>
                    <a:gd name="T75" fmla="*/ 237 h 250"/>
                    <a:gd name="T76" fmla="*/ 664 w 899"/>
                    <a:gd name="T77" fmla="*/ 239 h 250"/>
                    <a:gd name="T78" fmla="*/ 675 w 899"/>
                    <a:gd name="T79" fmla="*/ 240 h 250"/>
                    <a:gd name="T80" fmla="*/ 700 w 899"/>
                    <a:gd name="T81" fmla="*/ 242 h 250"/>
                    <a:gd name="T82" fmla="*/ 730 w 899"/>
                    <a:gd name="T83" fmla="*/ 244 h 250"/>
                    <a:gd name="T84" fmla="*/ 745 w 899"/>
                    <a:gd name="T85" fmla="*/ 245 h 250"/>
                    <a:gd name="T86" fmla="*/ 784 w 899"/>
                    <a:gd name="T87" fmla="*/ 249 h 250"/>
                    <a:gd name="T88" fmla="*/ 797 w 899"/>
                    <a:gd name="T89" fmla="*/ 249 h 250"/>
                    <a:gd name="T90" fmla="*/ 825 w 899"/>
                    <a:gd name="T91" fmla="*/ 239 h 250"/>
                    <a:gd name="T92" fmla="*/ 846 w 899"/>
                    <a:gd name="T93" fmla="*/ 230 h 250"/>
                    <a:gd name="T94" fmla="*/ 862 w 899"/>
                    <a:gd name="T95" fmla="*/ 159 h 250"/>
                    <a:gd name="T96" fmla="*/ 878 w 899"/>
                    <a:gd name="T97" fmla="*/ 148 h 250"/>
                    <a:gd name="T98" fmla="*/ 889 w 899"/>
                    <a:gd name="T99" fmla="*/ 137 h 250"/>
                    <a:gd name="T100" fmla="*/ 896 w 899"/>
                    <a:gd name="T101" fmla="*/ 126 h 250"/>
                    <a:gd name="T102" fmla="*/ 899 w 899"/>
                    <a:gd name="T103" fmla="*/ 117 h 250"/>
                    <a:gd name="T104" fmla="*/ 899 w 899"/>
                    <a:gd name="T105" fmla="*/ 111 h 250"/>
                    <a:gd name="T106" fmla="*/ 896 w 899"/>
                    <a:gd name="T107" fmla="*/ 102 h 250"/>
                    <a:gd name="T108" fmla="*/ 892 w 899"/>
                    <a:gd name="T109" fmla="*/ 94 h 250"/>
                    <a:gd name="T110" fmla="*/ 885 w 899"/>
                    <a:gd name="T111" fmla="*/ 86 h 250"/>
                    <a:gd name="T112" fmla="*/ 874 w 899"/>
                    <a:gd name="T113" fmla="*/ 77 h 250"/>
                    <a:gd name="T114" fmla="*/ 863 w 899"/>
                    <a:gd name="T115" fmla="*/ 7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99" h="250">
                      <a:moveTo>
                        <a:pt x="446" y="0"/>
                      </a:moveTo>
                      <a:cubicBezTo>
                        <a:pt x="381" y="0"/>
                        <a:pt x="314" y="4"/>
                        <a:pt x="251" y="11"/>
                      </a:cubicBezTo>
                      <a:cubicBezTo>
                        <a:pt x="247" y="12"/>
                        <a:pt x="243" y="13"/>
                        <a:pt x="238" y="13"/>
                      </a:cubicBezTo>
                      <a:cubicBezTo>
                        <a:pt x="237" y="13"/>
                        <a:pt x="236" y="13"/>
                        <a:pt x="235" y="14"/>
                      </a:cubicBezTo>
                      <a:cubicBezTo>
                        <a:pt x="231" y="14"/>
                        <a:pt x="228" y="15"/>
                        <a:pt x="224" y="15"/>
                      </a:cubicBezTo>
                      <a:cubicBezTo>
                        <a:pt x="223" y="15"/>
                        <a:pt x="222" y="15"/>
                        <a:pt x="222" y="15"/>
                      </a:cubicBezTo>
                      <a:cubicBezTo>
                        <a:pt x="218" y="16"/>
                        <a:pt x="213" y="17"/>
                        <a:pt x="209" y="17"/>
                      </a:cubicBezTo>
                      <a:cubicBezTo>
                        <a:pt x="208" y="17"/>
                        <a:pt x="207" y="18"/>
                        <a:pt x="206" y="18"/>
                      </a:cubicBezTo>
                      <a:cubicBezTo>
                        <a:pt x="203" y="18"/>
                        <a:pt x="200" y="19"/>
                        <a:pt x="197" y="19"/>
                      </a:cubicBezTo>
                      <a:cubicBezTo>
                        <a:pt x="196" y="19"/>
                        <a:pt x="195" y="20"/>
                        <a:pt x="194" y="20"/>
                      </a:cubicBezTo>
                      <a:cubicBezTo>
                        <a:pt x="190" y="20"/>
                        <a:pt x="186" y="21"/>
                        <a:pt x="182" y="22"/>
                      </a:cubicBezTo>
                      <a:cubicBezTo>
                        <a:pt x="182" y="22"/>
                        <a:pt x="181" y="22"/>
                        <a:pt x="180" y="22"/>
                      </a:cubicBezTo>
                      <a:cubicBezTo>
                        <a:pt x="177" y="23"/>
                        <a:pt x="174" y="23"/>
                        <a:pt x="171" y="24"/>
                      </a:cubicBezTo>
                      <a:cubicBezTo>
                        <a:pt x="170" y="24"/>
                        <a:pt x="169" y="24"/>
                        <a:pt x="168" y="25"/>
                      </a:cubicBezTo>
                      <a:cubicBezTo>
                        <a:pt x="164" y="25"/>
                        <a:pt x="160" y="26"/>
                        <a:pt x="157" y="27"/>
                      </a:cubicBezTo>
                      <a:cubicBezTo>
                        <a:pt x="153" y="28"/>
                        <a:pt x="150" y="28"/>
                        <a:pt x="146" y="29"/>
                      </a:cubicBezTo>
                      <a:cubicBezTo>
                        <a:pt x="145" y="29"/>
                        <a:pt x="144" y="30"/>
                        <a:pt x="143" y="30"/>
                      </a:cubicBezTo>
                      <a:cubicBezTo>
                        <a:pt x="140" y="31"/>
                        <a:pt x="138" y="31"/>
                        <a:pt x="135" y="32"/>
                      </a:cubicBezTo>
                      <a:cubicBezTo>
                        <a:pt x="134" y="32"/>
                        <a:pt x="134" y="32"/>
                        <a:pt x="133" y="32"/>
                      </a:cubicBezTo>
                      <a:cubicBezTo>
                        <a:pt x="130" y="33"/>
                        <a:pt x="126" y="34"/>
                        <a:pt x="123" y="35"/>
                      </a:cubicBezTo>
                      <a:cubicBezTo>
                        <a:pt x="121" y="35"/>
                        <a:pt x="121" y="35"/>
                        <a:pt x="121" y="35"/>
                      </a:cubicBezTo>
                      <a:cubicBezTo>
                        <a:pt x="118" y="36"/>
                        <a:pt x="116" y="37"/>
                        <a:pt x="113" y="38"/>
                      </a:cubicBezTo>
                      <a:cubicBezTo>
                        <a:pt x="113" y="38"/>
                        <a:pt x="112" y="38"/>
                        <a:pt x="111" y="38"/>
                      </a:cubicBezTo>
                      <a:cubicBezTo>
                        <a:pt x="108" y="39"/>
                        <a:pt x="105" y="40"/>
                        <a:pt x="102" y="41"/>
                      </a:cubicBezTo>
                      <a:cubicBezTo>
                        <a:pt x="102" y="41"/>
                        <a:pt x="101" y="41"/>
                        <a:pt x="101" y="41"/>
                      </a:cubicBezTo>
                      <a:cubicBezTo>
                        <a:pt x="98" y="42"/>
                        <a:pt x="96" y="43"/>
                        <a:pt x="93" y="44"/>
                      </a:cubicBezTo>
                      <a:cubicBezTo>
                        <a:pt x="93" y="44"/>
                        <a:pt x="92" y="44"/>
                        <a:pt x="91" y="44"/>
                      </a:cubicBezTo>
                      <a:cubicBezTo>
                        <a:pt x="88" y="45"/>
                        <a:pt x="86" y="46"/>
                        <a:pt x="83" y="47"/>
                      </a:cubicBezTo>
                      <a:cubicBezTo>
                        <a:pt x="80" y="48"/>
                        <a:pt x="78" y="49"/>
                        <a:pt x="75" y="50"/>
                      </a:cubicBezTo>
                      <a:cubicBezTo>
                        <a:pt x="74" y="50"/>
                        <a:pt x="74" y="50"/>
                        <a:pt x="73" y="51"/>
                      </a:cubicBezTo>
                      <a:cubicBezTo>
                        <a:pt x="71" y="52"/>
                        <a:pt x="69" y="52"/>
                        <a:pt x="67" y="53"/>
                      </a:cubicBezTo>
                      <a:cubicBezTo>
                        <a:pt x="66" y="53"/>
                        <a:pt x="66" y="54"/>
                        <a:pt x="65" y="54"/>
                      </a:cubicBezTo>
                      <a:cubicBezTo>
                        <a:pt x="63" y="55"/>
                        <a:pt x="61" y="56"/>
                        <a:pt x="59" y="57"/>
                      </a:cubicBezTo>
                      <a:cubicBezTo>
                        <a:pt x="58" y="57"/>
                        <a:pt x="57" y="57"/>
                        <a:pt x="57" y="57"/>
                      </a:cubicBezTo>
                      <a:cubicBezTo>
                        <a:pt x="55" y="58"/>
                        <a:pt x="53" y="59"/>
                        <a:pt x="52" y="60"/>
                      </a:cubicBezTo>
                      <a:cubicBezTo>
                        <a:pt x="51" y="60"/>
                        <a:pt x="51" y="60"/>
                        <a:pt x="50" y="61"/>
                      </a:cubicBezTo>
                      <a:cubicBezTo>
                        <a:pt x="48" y="62"/>
                        <a:pt x="46" y="63"/>
                        <a:pt x="44" y="64"/>
                      </a:cubicBezTo>
                      <a:cubicBezTo>
                        <a:pt x="43" y="64"/>
                        <a:pt x="43" y="64"/>
                        <a:pt x="43" y="64"/>
                      </a:cubicBezTo>
                      <a:cubicBezTo>
                        <a:pt x="41" y="65"/>
                        <a:pt x="40" y="66"/>
                        <a:pt x="38" y="67"/>
                      </a:cubicBezTo>
                      <a:cubicBezTo>
                        <a:pt x="38" y="67"/>
                        <a:pt x="37" y="67"/>
                        <a:pt x="37" y="68"/>
                      </a:cubicBezTo>
                      <a:cubicBezTo>
                        <a:pt x="35" y="69"/>
                        <a:pt x="33" y="70"/>
                        <a:pt x="31" y="71"/>
                      </a:cubicBezTo>
                      <a:cubicBezTo>
                        <a:pt x="30" y="72"/>
                        <a:pt x="28" y="73"/>
                        <a:pt x="27" y="74"/>
                      </a:cubicBezTo>
                      <a:cubicBezTo>
                        <a:pt x="26" y="74"/>
                        <a:pt x="26" y="75"/>
                        <a:pt x="25" y="75"/>
                      </a:cubicBezTo>
                      <a:cubicBezTo>
                        <a:pt x="24" y="76"/>
                        <a:pt x="23" y="77"/>
                        <a:pt x="22" y="78"/>
                      </a:cubicBezTo>
                      <a:cubicBezTo>
                        <a:pt x="21" y="78"/>
                        <a:pt x="21" y="78"/>
                        <a:pt x="21" y="78"/>
                      </a:cubicBezTo>
                      <a:cubicBezTo>
                        <a:pt x="19" y="79"/>
                        <a:pt x="18" y="80"/>
                        <a:pt x="17" y="82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cubicBezTo>
                        <a:pt x="15" y="83"/>
                        <a:pt x="14" y="84"/>
                        <a:pt x="13" y="85"/>
                      </a:cubicBez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11" y="87"/>
                        <a:pt x="10" y="88"/>
                        <a:pt x="9" y="89"/>
                      </a:cubicBezTo>
                      <a:cubicBezTo>
                        <a:pt x="9" y="90"/>
                        <a:pt x="9" y="90"/>
                        <a:pt x="9" y="90"/>
                      </a:cubicBezTo>
                      <a:cubicBezTo>
                        <a:pt x="8" y="91"/>
                        <a:pt x="7" y="92"/>
                        <a:pt x="7" y="93"/>
                      </a:cubicBezTo>
                      <a:cubicBezTo>
                        <a:pt x="6" y="94"/>
                        <a:pt x="6" y="94"/>
                        <a:pt x="6" y="94"/>
                      </a:cubicBezTo>
                      <a:cubicBezTo>
                        <a:pt x="5" y="95"/>
                        <a:pt x="5" y="96"/>
                        <a:pt x="4" y="97"/>
                      </a:cubicBezTo>
                      <a:cubicBezTo>
                        <a:pt x="3" y="98"/>
                        <a:pt x="3" y="99"/>
                        <a:pt x="2" y="100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1" y="102"/>
                        <a:pt x="1" y="103"/>
                        <a:pt x="1" y="104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6"/>
                        <a:pt x="0" y="107"/>
                        <a:pt x="0" y="108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0"/>
                        <a:pt x="0" y="111"/>
                        <a:pt x="0" y="112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3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7"/>
                        <a:pt x="0" y="118"/>
                        <a:pt x="0" y="119"/>
                      </a:cubicBezTo>
                      <a:cubicBezTo>
                        <a:pt x="0" y="120"/>
                        <a:pt x="1" y="121"/>
                        <a:pt x="1" y="122"/>
                      </a:cubicBezTo>
                      <a:cubicBezTo>
                        <a:pt x="1" y="123"/>
                        <a:pt x="1" y="123"/>
                        <a:pt x="1" y="123"/>
                      </a:cubicBezTo>
                      <a:cubicBezTo>
                        <a:pt x="2" y="123"/>
                        <a:pt x="2" y="124"/>
                        <a:pt x="2" y="125"/>
                      </a:cubicBezTo>
                      <a:cubicBezTo>
                        <a:pt x="2" y="125"/>
                        <a:pt x="3" y="125"/>
                        <a:pt x="3" y="126"/>
                      </a:cubicBezTo>
                      <a:cubicBezTo>
                        <a:pt x="3" y="126"/>
                        <a:pt x="3" y="127"/>
                        <a:pt x="4" y="128"/>
                      </a:cubicBezTo>
                      <a:cubicBezTo>
                        <a:pt x="4" y="128"/>
                        <a:pt x="4" y="129"/>
                        <a:pt x="4" y="129"/>
                      </a:cubicBezTo>
                      <a:cubicBezTo>
                        <a:pt x="5" y="129"/>
                        <a:pt x="5" y="130"/>
                        <a:pt x="5" y="131"/>
                      </a:cubicBezTo>
                      <a:cubicBezTo>
                        <a:pt x="6" y="131"/>
                        <a:pt x="6" y="132"/>
                        <a:pt x="6" y="132"/>
                      </a:cubicBezTo>
                      <a:cubicBezTo>
                        <a:pt x="7" y="133"/>
                        <a:pt x="7" y="133"/>
                        <a:pt x="8" y="134"/>
                      </a:cubicBezTo>
                      <a:cubicBezTo>
                        <a:pt x="8" y="134"/>
                        <a:pt x="8" y="134"/>
                        <a:pt x="9" y="135"/>
                      </a:cubicBezTo>
                      <a:cubicBezTo>
                        <a:pt x="9" y="136"/>
                        <a:pt x="10" y="136"/>
                        <a:pt x="10" y="137"/>
                      </a:cubicBezTo>
                      <a:cubicBezTo>
                        <a:pt x="11" y="138"/>
                        <a:pt x="11" y="138"/>
                        <a:pt x="11" y="138"/>
                      </a:cubicBezTo>
                      <a:cubicBezTo>
                        <a:pt x="12" y="139"/>
                        <a:pt x="13" y="140"/>
                        <a:pt x="14" y="141"/>
                      </a:cubicBezTo>
                      <a:cubicBezTo>
                        <a:pt x="15" y="142"/>
                        <a:pt x="16" y="143"/>
                        <a:pt x="17" y="144"/>
                      </a:cubicBezTo>
                      <a:cubicBezTo>
                        <a:pt x="17" y="144"/>
                        <a:pt x="18" y="144"/>
                        <a:pt x="18" y="145"/>
                      </a:cubicBezTo>
                      <a:cubicBezTo>
                        <a:pt x="19" y="145"/>
                        <a:pt x="20" y="146"/>
                        <a:pt x="21" y="147"/>
                      </a:cubicBezTo>
                      <a:cubicBezTo>
                        <a:pt x="21" y="147"/>
                        <a:pt x="22" y="147"/>
                        <a:pt x="22" y="148"/>
                      </a:cubicBezTo>
                      <a:cubicBezTo>
                        <a:pt x="23" y="148"/>
                        <a:pt x="24" y="149"/>
                        <a:pt x="25" y="150"/>
                      </a:cubicBezTo>
                      <a:cubicBezTo>
                        <a:pt x="25" y="150"/>
                        <a:pt x="26" y="150"/>
                        <a:pt x="26" y="151"/>
                      </a:cubicBezTo>
                      <a:cubicBezTo>
                        <a:pt x="27" y="151"/>
                        <a:pt x="28" y="152"/>
                        <a:pt x="29" y="153"/>
                      </a:cubicBezTo>
                      <a:cubicBezTo>
                        <a:pt x="29" y="153"/>
                        <a:pt x="30" y="153"/>
                        <a:pt x="31" y="154"/>
                      </a:cubicBezTo>
                      <a:cubicBezTo>
                        <a:pt x="32" y="154"/>
                        <a:pt x="32" y="155"/>
                        <a:pt x="33" y="155"/>
                      </a:cubicBezTo>
                      <a:cubicBezTo>
                        <a:pt x="34" y="156"/>
                        <a:pt x="35" y="156"/>
                        <a:pt x="35" y="157"/>
                      </a:cubicBezTo>
                      <a:cubicBezTo>
                        <a:pt x="36" y="157"/>
                        <a:pt x="37" y="158"/>
                        <a:pt x="39" y="159"/>
                      </a:cubicBezTo>
                      <a:cubicBezTo>
                        <a:pt x="39" y="159"/>
                        <a:pt x="40" y="159"/>
                        <a:pt x="40" y="159"/>
                      </a:cubicBezTo>
                      <a:cubicBezTo>
                        <a:pt x="42" y="160"/>
                        <a:pt x="43" y="225"/>
                        <a:pt x="45" y="226"/>
                      </a:cubicBezTo>
                      <a:cubicBezTo>
                        <a:pt x="61" y="235"/>
                        <a:pt x="81" y="242"/>
                        <a:pt x="104" y="249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7" y="249"/>
                        <a:pt x="110" y="248"/>
                        <a:pt x="112" y="248"/>
                      </a:cubicBezTo>
                      <a:cubicBezTo>
                        <a:pt x="116" y="248"/>
                        <a:pt x="120" y="247"/>
                        <a:pt x="124" y="247"/>
                      </a:cubicBezTo>
                      <a:cubicBezTo>
                        <a:pt x="127" y="247"/>
                        <a:pt x="129" y="246"/>
                        <a:pt x="132" y="246"/>
                      </a:cubicBezTo>
                      <a:cubicBezTo>
                        <a:pt x="136" y="246"/>
                        <a:pt x="140" y="245"/>
                        <a:pt x="144" y="245"/>
                      </a:cubicBezTo>
                      <a:cubicBezTo>
                        <a:pt x="145" y="245"/>
                        <a:pt x="146" y="245"/>
                        <a:pt x="147" y="245"/>
                      </a:cubicBezTo>
                      <a:cubicBezTo>
                        <a:pt x="149" y="245"/>
                        <a:pt x="150" y="244"/>
                        <a:pt x="152" y="244"/>
                      </a:cubicBezTo>
                      <a:cubicBezTo>
                        <a:pt x="154" y="244"/>
                        <a:pt x="156" y="244"/>
                        <a:pt x="159" y="244"/>
                      </a:cubicBezTo>
                      <a:cubicBezTo>
                        <a:pt x="160" y="244"/>
                        <a:pt x="162" y="243"/>
                        <a:pt x="163" y="243"/>
                      </a:cubicBezTo>
                      <a:cubicBezTo>
                        <a:pt x="172" y="243"/>
                        <a:pt x="172" y="243"/>
                        <a:pt x="172" y="243"/>
                      </a:cubicBezTo>
                      <a:cubicBezTo>
                        <a:pt x="174" y="242"/>
                        <a:pt x="177" y="242"/>
                        <a:pt x="180" y="242"/>
                      </a:cubicBezTo>
                      <a:cubicBezTo>
                        <a:pt x="181" y="242"/>
                        <a:pt x="182" y="242"/>
                        <a:pt x="183" y="242"/>
                      </a:cubicBezTo>
                      <a:cubicBezTo>
                        <a:pt x="185" y="242"/>
                        <a:pt x="186" y="241"/>
                        <a:pt x="187" y="241"/>
                      </a:cubicBezTo>
                      <a:cubicBezTo>
                        <a:pt x="189" y="241"/>
                        <a:pt x="190" y="241"/>
                        <a:pt x="192" y="241"/>
                      </a:cubicBezTo>
                      <a:cubicBezTo>
                        <a:pt x="196" y="241"/>
                        <a:pt x="200" y="240"/>
                        <a:pt x="205" y="240"/>
                      </a:cubicBezTo>
                      <a:cubicBezTo>
                        <a:pt x="205" y="240"/>
                        <a:pt x="206" y="240"/>
                        <a:pt x="206" y="240"/>
                      </a:cubicBezTo>
                      <a:cubicBezTo>
                        <a:pt x="208" y="240"/>
                        <a:pt x="209" y="240"/>
                        <a:pt x="211" y="240"/>
                      </a:cubicBezTo>
                      <a:cubicBezTo>
                        <a:pt x="214" y="239"/>
                        <a:pt x="217" y="239"/>
                        <a:pt x="219" y="239"/>
                      </a:cubicBezTo>
                      <a:cubicBezTo>
                        <a:pt x="221" y="239"/>
                        <a:pt x="223" y="239"/>
                        <a:pt x="225" y="239"/>
                      </a:cubicBezTo>
                      <a:cubicBezTo>
                        <a:pt x="226" y="239"/>
                        <a:pt x="227" y="239"/>
                        <a:pt x="228" y="239"/>
                      </a:cubicBezTo>
                      <a:cubicBezTo>
                        <a:pt x="229" y="238"/>
                        <a:pt x="230" y="238"/>
                        <a:pt x="231" y="238"/>
                      </a:cubicBezTo>
                      <a:cubicBezTo>
                        <a:pt x="238" y="238"/>
                        <a:pt x="244" y="237"/>
                        <a:pt x="251" y="237"/>
                      </a:cubicBezTo>
                      <a:cubicBezTo>
                        <a:pt x="253" y="237"/>
                        <a:pt x="255" y="237"/>
                        <a:pt x="256" y="237"/>
                      </a:cubicBezTo>
                      <a:cubicBezTo>
                        <a:pt x="261" y="236"/>
                        <a:pt x="266" y="236"/>
                        <a:pt x="271" y="236"/>
                      </a:cubicBezTo>
                      <a:cubicBezTo>
                        <a:pt x="272" y="236"/>
                        <a:pt x="274" y="236"/>
                        <a:pt x="275" y="236"/>
                      </a:cubicBezTo>
                      <a:cubicBezTo>
                        <a:pt x="276" y="236"/>
                        <a:pt x="277" y="236"/>
                        <a:pt x="279" y="236"/>
                      </a:cubicBezTo>
                      <a:cubicBezTo>
                        <a:pt x="279" y="236"/>
                        <a:pt x="279" y="236"/>
                        <a:pt x="279" y="236"/>
                      </a:cubicBezTo>
                      <a:cubicBezTo>
                        <a:pt x="283" y="235"/>
                        <a:pt x="287" y="235"/>
                        <a:pt x="291" y="235"/>
                      </a:cubicBezTo>
                      <a:cubicBezTo>
                        <a:pt x="293" y="235"/>
                        <a:pt x="296" y="235"/>
                        <a:pt x="299" y="235"/>
                      </a:cubicBezTo>
                      <a:cubicBezTo>
                        <a:pt x="300" y="235"/>
                        <a:pt x="300" y="235"/>
                        <a:pt x="300" y="235"/>
                      </a:cubicBezTo>
                      <a:cubicBezTo>
                        <a:pt x="303" y="235"/>
                        <a:pt x="307" y="234"/>
                        <a:pt x="311" y="234"/>
                      </a:cubicBezTo>
                      <a:cubicBezTo>
                        <a:pt x="311" y="234"/>
                        <a:pt x="311" y="234"/>
                        <a:pt x="311" y="234"/>
                      </a:cubicBezTo>
                      <a:cubicBezTo>
                        <a:pt x="314" y="234"/>
                        <a:pt x="316" y="234"/>
                        <a:pt x="319" y="234"/>
                      </a:cubicBezTo>
                      <a:cubicBezTo>
                        <a:pt x="320" y="234"/>
                        <a:pt x="321" y="234"/>
                        <a:pt x="322" y="234"/>
                      </a:cubicBezTo>
                      <a:cubicBezTo>
                        <a:pt x="325" y="234"/>
                        <a:pt x="328" y="234"/>
                        <a:pt x="331" y="233"/>
                      </a:cubicBezTo>
                      <a:cubicBezTo>
                        <a:pt x="334" y="233"/>
                        <a:pt x="337" y="233"/>
                        <a:pt x="340" y="233"/>
                      </a:cubicBezTo>
                      <a:cubicBezTo>
                        <a:pt x="340" y="233"/>
                        <a:pt x="340" y="233"/>
                        <a:pt x="340" y="233"/>
                      </a:cubicBezTo>
                      <a:cubicBezTo>
                        <a:pt x="344" y="233"/>
                        <a:pt x="347" y="233"/>
                        <a:pt x="351" y="233"/>
                      </a:cubicBezTo>
                      <a:cubicBezTo>
                        <a:pt x="352" y="233"/>
                        <a:pt x="353" y="233"/>
                        <a:pt x="354" y="233"/>
                      </a:cubicBezTo>
                      <a:cubicBezTo>
                        <a:pt x="355" y="233"/>
                        <a:pt x="355" y="233"/>
                        <a:pt x="355" y="233"/>
                      </a:cubicBezTo>
                      <a:cubicBezTo>
                        <a:pt x="357" y="233"/>
                        <a:pt x="359" y="233"/>
                        <a:pt x="360" y="233"/>
                      </a:cubicBezTo>
                      <a:cubicBezTo>
                        <a:pt x="362" y="233"/>
                        <a:pt x="364" y="233"/>
                        <a:pt x="365" y="233"/>
                      </a:cubicBezTo>
                      <a:cubicBezTo>
                        <a:pt x="367" y="233"/>
                        <a:pt x="369" y="232"/>
                        <a:pt x="371" y="232"/>
                      </a:cubicBezTo>
                      <a:cubicBezTo>
                        <a:pt x="371" y="232"/>
                        <a:pt x="371" y="232"/>
                        <a:pt x="371" y="232"/>
                      </a:cubicBezTo>
                      <a:cubicBezTo>
                        <a:pt x="372" y="232"/>
                        <a:pt x="372" y="232"/>
                        <a:pt x="372" y="232"/>
                      </a:cubicBezTo>
                      <a:cubicBezTo>
                        <a:pt x="375" y="232"/>
                        <a:pt x="378" y="232"/>
                        <a:pt x="380" y="232"/>
                      </a:cubicBezTo>
                      <a:cubicBezTo>
                        <a:pt x="384" y="232"/>
                        <a:pt x="388" y="232"/>
                        <a:pt x="391" y="232"/>
                      </a:cubicBezTo>
                      <a:cubicBezTo>
                        <a:pt x="392" y="232"/>
                        <a:pt x="392" y="232"/>
                        <a:pt x="392" y="232"/>
                      </a:cubicBezTo>
                      <a:cubicBezTo>
                        <a:pt x="395" y="232"/>
                        <a:pt x="398" y="232"/>
                        <a:pt x="400" y="232"/>
                      </a:cubicBezTo>
                      <a:cubicBezTo>
                        <a:pt x="404" y="232"/>
                        <a:pt x="408" y="232"/>
                        <a:pt x="412" y="232"/>
                      </a:cubicBezTo>
                      <a:cubicBezTo>
                        <a:pt x="414" y="232"/>
                        <a:pt x="416" y="232"/>
                        <a:pt x="418" y="232"/>
                      </a:cubicBezTo>
                      <a:cubicBezTo>
                        <a:pt x="418" y="232"/>
                        <a:pt x="419" y="232"/>
                        <a:pt x="420" y="232"/>
                      </a:cubicBezTo>
                      <a:cubicBezTo>
                        <a:pt x="423" y="232"/>
                        <a:pt x="423" y="232"/>
                        <a:pt x="423" y="232"/>
                      </a:cubicBezTo>
                      <a:cubicBezTo>
                        <a:pt x="424" y="232"/>
                        <a:pt x="425" y="232"/>
                        <a:pt x="426" y="232"/>
                      </a:cubicBezTo>
                      <a:cubicBezTo>
                        <a:pt x="428" y="232"/>
                        <a:pt x="428" y="232"/>
                        <a:pt x="428" y="232"/>
                      </a:cubicBezTo>
                      <a:cubicBezTo>
                        <a:pt x="432" y="232"/>
                        <a:pt x="436" y="232"/>
                        <a:pt x="439" y="232"/>
                      </a:cubicBezTo>
                      <a:cubicBezTo>
                        <a:pt x="442" y="232"/>
                        <a:pt x="445" y="232"/>
                        <a:pt x="448" y="232"/>
                      </a:cubicBezTo>
                      <a:cubicBezTo>
                        <a:pt x="452" y="232"/>
                        <a:pt x="456" y="232"/>
                        <a:pt x="460" y="232"/>
                      </a:cubicBezTo>
                      <a:cubicBezTo>
                        <a:pt x="462" y="232"/>
                        <a:pt x="462" y="232"/>
                        <a:pt x="462" y="232"/>
                      </a:cubicBezTo>
                      <a:cubicBezTo>
                        <a:pt x="464" y="232"/>
                        <a:pt x="466" y="232"/>
                        <a:pt x="469" y="232"/>
                      </a:cubicBezTo>
                      <a:cubicBezTo>
                        <a:pt x="472" y="232"/>
                        <a:pt x="475" y="232"/>
                        <a:pt x="479" y="232"/>
                      </a:cubicBezTo>
                      <a:cubicBezTo>
                        <a:pt x="479" y="232"/>
                        <a:pt x="479" y="232"/>
                        <a:pt x="479" y="232"/>
                      </a:cubicBezTo>
                      <a:cubicBezTo>
                        <a:pt x="480" y="232"/>
                        <a:pt x="482" y="232"/>
                        <a:pt x="483" y="232"/>
                      </a:cubicBezTo>
                      <a:cubicBezTo>
                        <a:pt x="484" y="232"/>
                        <a:pt x="486" y="232"/>
                        <a:pt x="489" y="232"/>
                      </a:cubicBezTo>
                      <a:cubicBezTo>
                        <a:pt x="492" y="232"/>
                        <a:pt x="496" y="232"/>
                        <a:pt x="499" y="232"/>
                      </a:cubicBezTo>
                      <a:cubicBezTo>
                        <a:pt x="501" y="232"/>
                        <a:pt x="502" y="232"/>
                        <a:pt x="504" y="232"/>
                      </a:cubicBezTo>
                      <a:cubicBezTo>
                        <a:pt x="505" y="232"/>
                        <a:pt x="507" y="232"/>
                        <a:pt x="509" y="232"/>
                      </a:cubicBezTo>
                      <a:cubicBezTo>
                        <a:pt x="512" y="232"/>
                        <a:pt x="515" y="232"/>
                        <a:pt x="518" y="233"/>
                      </a:cubicBezTo>
                      <a:cubicBezTo>
                        <a:pt x="519" y="233"/>
                        <a:pt x="519" y="233"/>
                        <a:pt x="519" y="233"/>
                      </a:cubicBezTo>
                      <a:cubicBezTo>
                        <a:pt x="521" y="233"/>
                        <a:pt x="522" y="233"/>
                        <a:pt x="524" y="233"/>
                      </a:cubicBezTo>
                      <a:cubicBezTo>
                        <a:pt x="525" y="233"/>
                        <a:pt x="527" y="233"/>
                        <a:pt x="529" y="233"/>
                      </a:cubicBezTo>
                      <a:cubicBezTo>
                        <a:pt x="532" y="233"/>
                        <a:pt x="535" y="233"/>
                        <a:pt x="538" y="233"/>
                      </a:cubicBezTo>
                      <a:cubicBezTo>
                        <a:pt x="542" y="233"/>
                        <a:pt x="545" y="233"/>
                        <a:pt x="549" y="233"/>
                      </a:cubicBezTo>
                      <a:cubicBezTo>
                        <a:pt x="550" y="233"/>
                        <a:pt x="551" y="233"/>
                        <a:pt x="553" y="233"/>
                      </a:cubicBezTo>
                      <a:cubicBezTo>
                        <a:pt x="554" y="234"/>
                        <a:pt x="556" y="234"/>
                        <a:pt x="558" y="234"/>
                      </a:cubicBezTo>
                      <a:cubicBezTo>
                        <a:pt x="559" y="234"/>
                        <a:pt x="559" y="234"/>
                        <a:pt x="560" y="234"/>
                      </a:cubicBezTo>
                      <a:cubicBezTo>
                        <a:pt x="561" y="234"/>
                        <a:pt x="562" y="234"/>
                        <a:pt x="563" y="234"/>
                      </a:cubicBezTo>
                      <a:cubicBezTo>
                        <a:pt x="565" y="234"/>
                        <a:pt x="567" y="234"/>
                        <a:pt x="568" y="234"/>
                      </a:cubicBezTo>
                      <a:cubicBezTo>
                        <a:pt x="570" y="234"/>
                        <a:pt x="572" y="234"/>
                        <a:pt x="574" y="234"/>
                      </a:cubicBezTo>
                      <a:cubicBezTo>
                        <a:pt x="575" y="234"/>
                        <a:pt x="576" y="234"/>
                        <a:pt x="577" y="234"/>
                      </a:cubicBezTo>
                      <a:cubicBezTo>
                        <a:pt x="580" y="234"/>
                        <a:pt x="584" y="235"/>
                        <a:pt x="587" y="235"/>
                      </a:cubicBezTo>
                      <a:cubicBezTo>
                        <a:pt x="588" y="235"/>
                        <a:pt x="590" y="235"/>
                        <a:pt x="591" y="235"/>
                      </a:cubicBezTo>
                      <a:cubicBezTo>
                        <a:pt x="594" y="235"/>
                        <a:pt x="596" y="235"/>
                        <a:pt x="599" y="235"/>
                      </a:cubicBezTo>
                      <a:cubicBezTo>
                        <a:pt x="599" y="235"/>
                        <a:pt x="600" y="235"/>
                        <a:pt x="601" y="235"/>
                      </a:cubicBezTo>
                      <a:cubicBezTo>
                        <a:pt x="602" y="235"/>
                        <a:pt x="604" y="236"/>
                        <a:pt x="606" y="236"/>
                      </a:cubicBezTo>
                      <a:cubicBezTo>
                        <a:pt x="607" y="236"/>
                        <a:pt x="607" y="236"/>
                        <a:pt x="607" y="236"/>
                      </a:cubicBezTo>
                      <a:cubicBezTo>
                        <a:pt x="609" y="236"/>
                        <a:pt x="611" y="236"/>
                        <a:pt x="613" y="236"/>
                      </a:cubicBezTo>
                      <a:cubicBezTo>
                        <a:pt x="615" y="236"/>
                        <a:pt x="616" y="236"/>
                        <a:pt x="617" y="236"/>
                      </a:cubicBezTo>
                      <a:cubicBezTo>
                        <a:pt x="620" y="236"/>
                        <a:pt x="623" y="236"/>
                        <a:pt x="625" y="237"/>
                      </a:cubicBezTo>
                      <a:cubicBezTo>
                        <a:pt x="626" y="237"/>
                        <a:pt x="626" y="237"/>
                        <a:pt x="627" y="237"/>
                      </a:cubicBezTo>
                      <a:cubicBezTo>
                        <a:pt x="629" y="237"/>
                        <a:pt x="631" y="237"/>
                        <a:pt x="633" y="237"/>
                      </a:cubicBezTo>
                      <a:cubicBezTo>
                        <a:pt x="634" y="237"/>
                        <a:pt x="635" y="237"/>
                        <a:pt x="636" y="237"/>
                      </a:cubicBezTo>
                      <a:cubicBezTo>
                        <a:pt x="637" y="237"/>
                        <a:pt x="637" y="237"/>
                        <a:pt x="637" y="237"/>
                      </a:cubicBezTo>
                      <a:cubicBezTo>
                        <a:pt x="639" y="237"/>
                        <a:pt x="642" y="238"/>
                        <a:pt x="645" y="238"/>
                      </a:cubicBezTo>
                      <a:cubicBezTo>
                        <a:pt x="648" y="238"/>
                        <a:pt x="651" y="238"/>
                        <a:pt x="653" y="238"/>
                      </a:cubicBezTo>
                      <a:cubicBezTo>
                        <a:pt x="654" y="238"/>
                        <a:pt x="654" y="238"/>
                        <a:pt x="655" y="238"/>
                      </a:cubicBezTo>
                      <a:cubicBezTo>
                        <a:pt x="658" y="239"/>
                        <a:pt x="661" y="239"/>
                        <a:pt x="664" y="239"/>
                      </a:cubicBezTo>
                      <a:cubicBezTo>
                        <a:pt x="665" y="239"/>
                        <a:pt x="665" y="239"/>
                        <a:pt x="665" y="239"/>
                      </a:cubicBezTo>
                      <a:cubicBezTo>
                        <a:pt x="666" y="239"/>
                        <a:pt x="667" y="239"/>
                        <a:pt x="668" y="239"/>
                      </a:cubicBezTo>
                      <a:cubicBezTo>
                        <a:pt x="669" y="239"/>
                        <a:pt x="670" y="239"/>
                        <a:pt x="670" y="239"/>
                      </a:cubicBezTo>
                      <a:cubicBezTo>
                        <a:pt x="671" y="239"/>
                        <a:pt x="672" y="239"/>
                        <a:pt x="673" y="240"/>
                      </a:cubicBezTo>
                      <a:cubicBezTo>
                        <a:pt x="673" y="240"/>
                        <a:pt x="674" y="240"/>
                        <a:pt x="675" y="240"/>
                      </a:cubicBezTo>
                      <a:cubicBezTo>
                        <a:pt x="677" y="240"/>
                        <a:pt x="680" y="240"/>
                        <a:pt x="682" y="240"/>
                      </a:cubicBezTo>
                      <a:cubicBezTo>
                        <a:pt x="682" y="240"/>
                        <a:pt x="682" y="240"/>
                        <a:pt x="682" y="240"/>
                      </a:cubicBezTo>
                      <a:cubicBezTo>
                        <a:pt x="686" y="240"/>
                        <a:pt x="689" y="241"/>
                        <a:pt x="692" y="241"/>
                      </a:cubicBezTo>
                      <a:cubicBezTo>
                        <a:pt x="692" y="241"/>
                        <a:pt x="693" y="241"/>
                        <a:pt x="694" y="241"/>
                      </a:cubicBezTo>
                      <a:cubicBezTo>
                        <a:pt x="696" y="241"/>
                        <a:pt x="698" y="241"/>
                        <a:pt x="700" y="242"/>
                      </a:cubicBezTo>
                      <a:cubicBezTo>
                        <a:pt x="704" y="242"/>
                        <a:pt x="708" y="242"/>
                        <a:pt x="712" y="243"/>
                      </a:cubicBezTo>
                      <a:cubicBezTo>
                        <a:pt x="714" y="243"/>
                        <a:pt x="716" y="243"/>
                        <a:pt x="718" y="243"/>
                      </a:cubicBezTo>
                      <a:cubicBezTo>
                        <a:pt x="720" y="243"/>
                        <a:pt x="722" y="243"/>
                        <a:pt x="723" y="243"/>
                      </a:cubicBezTo>
                      <a:cubicBezTo>
                        <a:pt x="724" y="243"/>
                        <a:pt x="724" y="243"/>
                        <a:pt x="724" y="243"/>
                      </a:cubicBezTo>
                      <a:cubicBezTo>
                        <a:pt x="726" y="244"/>
                        <a:pt x="728" y="244"/>
                        <a:pt x="730" y="244"/>
                      </a:cubicBezTo>
                      <a:cubicBezTo>
                        <a:pt x="730" y="244"/>
                        <a:pt x="730" y="244"/>
                        <a:pt x="730" y="244"/>
                      </a:cubicBezTo>
                      <a:cubicBezTo>
                        <a:pt x="731" y="244"/>
                        <a:pt x="731" y="244"/>
                        <a:pt x="731" y="244"/>
                      </a:cubicBezTo>
                      <a:cubicBezTo>
                        <a:pt x="732" y="244"/>
                        <a:pt x="733" y="244"/>
                        <a:pt x="734" y="244"/>
                      </a:cubicBezTo>
                      <a:cubicBezTo>
                        <a:pt x="735" y="244"/>
                        <a:pt x="736" y="245"/>
                        <a:pt x="737" y="245"/>
                      </a:cubicBezTo>
                      <a:cubicBezTo>
                        <a:pt x="740" y="245"/>
                        <a:pt x="742" y="245"/>
                        <a:pt x="745" y="245"/>
                      </a:cubicBezTo>
                      <a:cubicBezTo>
                        <a:pt x="746" y="245"/>
                        <a:pt x="746" y="245"/>
                        <a:pt x="747" y="246"/>
                      </a:cubicBezTo>
                      <a:cubicBezTo>
                        <a:pt x="748" y="246"/>
                        <a:pt x="749" y="246"/>
                        <a:pt x="750" y="246"/>
                      </a:cubicBezTo>
                      <a:cubicBezTo>
                        <a:pt x="753" y="246"/>
                        <a:pt x="755" y="246"/>
                        <a:pt x="757" y="247"/>
                      </a:cubicBezTo>
                      <a:cubicBezTo>
                        <a:pt x="765" y="247"/>
                        <a:pt x="772" y="248"/>
                        <a:pt x="779" y="249"/>
                      </a:cubicBezTo>
                      <a:cubicBezTo>
                        <a:pt x="781" y="249"/>
                        <a:pt x="782" y="249"/>
                        <a:pt x="784" y="249"/>
                      </a:cubicBezTo>
                      <a:cubicBezTo>
                        <a:pt x="784" y="249"/>
                        <a:pt x="785" y="249"/>
                        <a:pt x="785" y="249"/>
                      </a:cubicBezTo>
                      <a:cubicBezTo>
                        <a:pt x="787" y="250"/>
                        <a:pt x="790" y="250"/>
                        <a:pt x="792" y="250"/>
                      </a:cubicBezTo>
                      <a:cubicBezTo>
                        <a:pt x="793" y="250"/>
                        <a:pt x="793" y="250"/>
                        <a:pt x="793" y="250"/>
                      </a:cubicBezTo>
                      <a:cubicBezTo>
                        <a:pt x="794" y="250"/>
                        <a:pt x="795" y="250"/>
                        <a:pt x="796" y="249"/>
                      </a:cubicBezTo>
                      <a:cubicBezTo>
                        <a:pt x="796" y="249"/>
                        <a:pt x="797" y="249"/>
                        <a:pt x="797" y="249"/>
                      </a:cubicBezTo>
                      <a:cubicBezTo>
                        <a:pt x="800" y="248"/>
                        <a:pt x="802" y="247"/>
                        <a:pt x="804" y="247"/>
                      </a:cubicBezTo>
                      <a:cubicBezTo>
                        <a:pt x="805" y="246"/>
                        <a:pt x="806" y="246"/>
                        <a:pt x="807" y="246"/>
                      </a:cubicBezTo>
                      <a:cubicBezTo>
                        <a:pt x="809" y="245"/>
                        <a:pt x="812" y="244"/>
                        <a:pt x="815" y="243"/>
                      </a:cubicBezTo>
                      <a:cubicBezTo>
                        <a:pt x="818" y="242"/>
                        <a:pt x="820" y="241"/>
                        <a:pt x="823" y="240"/>
                      </a:cubicBezTo>
                      <a:cubicBezTo>
                        <a:pt x="823" y="240"/>
                        <a:pt x="824" y="240"/>
                        <a:pt x="825" y="239"/>
                      </a:cubicBezTo>
                      <a:cubicBezTo>
                        <a:pt x="827" y="239"/>
                        <a:pt x="829" y="238"/>
                        <a:pt x="831" y="237"/>
                      </a:cubicBezTo>
                      <a:cubicBezTo>
                        <a:pt x="831" y="237"/>
                        <a:pt x="832" y="237"/>
                        <a:pt x="832" y="236"/>
                      </a:cubicBezTo>
                      <a:cubicBezTo>
                        <a:pt x="835" y="235"/>
                        <a:pt x="837" y="235"/>
                        <a:pt x="839" y="234"/>
                      </a:cubicBezTo>
                      <a:cubicBezTo>
                        <a:pt x="840" y="233"/>
                        <a:pt x="840" y="233"/>
                        <a:pt x="841" y="233"/>
                      </a:cubicBezTo>
                      <a:cubicBezTo>
                        <a:pt x="843" y="232"/>
                        <a:pt x="844" y="231"/>
                        <a:pt x="846" y="230"/>
                      </a:cubicBezTo>
                      <a:cubicBezTo>
                        <a:pt x="847" y="230"/>
                        <a:pt x="847" y="230"/>
                        <a:pt x="848" y="230"/>
                      </a:cubicBezTo>
                      <a:cubicBezTo>
                        <a:pt x="850" y="229"/>
                        <a:pt x="852" y="228"/>
                        <a:pt x="854" y="227"/>
                      </a:cubicBezTo>
                      <a:cubicBezTo>
                        <a:pt x="856" y="162"/>
                        <a:pt x="856" y="162"/>
                        <a:pt x="856" y="162"/>
                      </a:cubicBezTo>
                      <a:cubicBezTo>
                        <a:pt x="857" y="161"/>
                        <a:pt x="859" y="160"/>
                        <a:pt x="860" y="160"/>
                      </a:cubicBezTo>
                      <a:cubicBezTo>
                        <a:pt x="861" y="159"/>
                        <a:pt x="861" y="159"/>
                        <a:pt x="862" y="159"/>
                      </a:cubicBezTo>
                      <a:cubicBezTo>
                        <a:pt x="864" y="158"/>
                        <a:pt x="865" y="157"/>
                        <a:pt x="867" y="156"/>
                      </a:cubicBezTo>
                      <a:cubicBezTo>
                        <a:pt x="869" y="154"/>
                        <a:pt x="870" y="153"/>
                        <a:pt x="872" y="152"/>
                      </a:cubicBezTo>
                      <a:cubicBezTo>
                        <a:pt x="872" y="152"/>
                        <a:pt x="873" y="152"/>
                        <a:pt x="873" y="151"/>
                      </a:cubicBezTo>
                      <a:cubicBezTo>
                        <a:pt x="875" y="151"/>
                        <a:pt x="876" y="150"/>
                        <a:pt x="877" y="149"/>
                      </a:cubicBezTo>
                      <a:cubicBezTo>
                        <a:pt x="878" y="148"/>
                        <a:pt x="878" y="148"/>
                        <a:pt x="878" y="148"/>
                      </a:cubicBezTo>
                      <a:cubicBezTo>
                        <a:pt x="879" y="147"/>
                        <a:pt x="880" y="146"/>
                        <a:pt x="882" y="145"/>
                      </a:cubicBezTo>
                      <a:cubicBezTo>
                        <a:pt x="883" y="144"/>
                        <a:pt x="883" y="144"/>
                        <a:pt x="883" y="144"/>
                      </a:cubicBezTo>
                      <a:cubicBezTo>
                        <a:pt x="884" y="143"/>
                        <a:pt x="884" y="142"/>
                        <a:pt x="885" y="141"/>
                      </a:cubicBezTo>
                      <a:cubicBezTo>
                        <a:pt x="886" y="140"/>
                        <a:pt x="886" y="140"/>
                        <a:pt x="886" y="140"/>
                      </a:cubicBezTo>
                      <a:cubicBezTo>
                        <a:pt x="887" y="139"/>
                        <a:pt x="888" y="138"/>
                        <a:pt x="889" y="137"/>
                      </a:cubicBezTo>
                      <a:cubicBezTo>
                        <a:pt x="890" y="137"/>
                        <a:pt x="890" y="137"/>
                        <a:pt x="890" y="137"/>
                      </a:cubicBezTo>
                      <a:cubicBezTo>
                        <a:pt x="890" y="136"/>
                        <a:pt x="891" y="135"/>
                        <a:pt x="892" y="134"/>
                      </a:cubicBezTo>
                      <a:cubicBezTo>
                        <a:pt x="893" y="133"/>
                        <a:pt x="893" y="133"/>
                        <a:pt x="893" y="133"/>
                      </a:cubicBezTo>
                      <a:cubicBezTo>
                        <a:pt x="893" y="132"/>
                        <a:pt x="894" y="131"/>
                        <a:pt x="895" y="129"/>
                      </a:cubicBezTo>
                      <a:cubicBezTo>
                        <a:pt x="895" y="128"/>
                        <a:pt x="896" y="127"/>
                        <a:pt x="896" y="126"/>
                      </a:cubicBezTo>
                      <a:cubicBezTo>
                        <a:pt x="897" y="125"/>
                        <a:pt x="897" y="125"/>
                        <a:pt x="897" y="125"/>
                      </a:cubicBezTo>
                      <a:cubicBezTo>
                        <a:pt x="897" y="124"/>
                        <a:pt x="897" y="123"/>
                        <a:pt x="898" y="122"/>
                      </a:cubicBezTo>
                      <a:cubicBezTo>
                        <a:pt x="898" y="121"/>
                        <a:pt x="898" y="121"/>
                        <a:pt x="898" y="121"/>
                      </a:cubicBezTo>
                      <a:cubicBezTo>
                        <a:pt x="898" y="120"/>
                        <a:pt x="898" y="119"/>
                        <a:pt x="899" y="118"/>
                      </a:cubicBezTo>
                      <a:cubicBezTo>
                        <a:pt x="899" y="117"/>
                        <a:pt x="899" y="117"/>
                        <a:pt x="899" y="117"/>
                      </a:cubicBezTo>
                      <a:cubicBezTo>
                        <a:pt x="899" y="117"/>
                        <a:pt x="899" y="116"/>
                        <a:pt x="899" y="115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4"/>
                        <a:pt x="899" y="114"/>
                        <a:pt x="899" y="114"/>
                      </a:cubicBezTo>
                      <a:cubicBezTo>
                        <a:pt x="899" y="113"/>
                        <a:pt x="899" y="113"/>
                        <a:pt x="899" y="113"/>
                      </a:cubicBezTo>
                      <a:cubicBezTo>
                        <a:pt x="899" y="113"/>
                        <a:pt x="899" y="112"/>
                        <a:pt x="899" y="111"/>
                      </a:cubicBezTo>
                      <a:cubicBezTo>
                        <a:pt x="899" y="111"/>
                        <a:pt x="899" y="111"/>
                        <a:pt x="899" y="111"/>
                      </a:cubicBezTo>
                      <a:cubicBezTo>
                        <a:pt x="899" y="110"/>
                        <a:pt x="899" y="109"/>
                        <a:pt x="898" y="108"/>
                      </a:cubicBezTo>
                      <a:cubicBezTo>
                        <a:pt x="898" y="107"/>
                        <a:pt x="898" y="106"/>
                        <a:pt x="897" y="105"/>
                      </a:cubicBezTo>
                      <a:cubicBezTo>
                        <a:pt x="897" y="104"/>
                        <a:pt x="897" y="104"/>
                        <a:pt x="897" y="104"/>
                      </a:cubicBezTo>
                      <a:cubicBezTo>
                        <a:pt x="897" y="103"/>
                        <a:pt x="897" y="102"/>
                        <a:pt x="896" y="102"/>
                      </a:cubicBezTo>
                      <a:cubicBezTo>
                        <a:pt x="896" y="101"/>
                        <a:pt x="896" y="101"/>
                        <a:pt x="896" y="100"/>
                      </a:cubicBezTo>
                      <a:cubicBezTo>
                        <a:pt x="896" y="100"/>
                        <a:pt x="895" y="99"/>
                        <a:pt x="895" y="99"/>
                      </a:cubicBezTo>
                      <a:cubicBezTo>
                        <a:pt x="895" y="98"/>
                        <a:pt x="894" y="98"/>
                        <a:pt x="894" y="97"/>
                      </a:cubicBezTo>
                      <a:cubicBezTo>
                        <a:pt x="894" y="97"/>
                        <a:pt x="893" y="96"/>
                        <a:pt x="893" y="96"/>
                      </a:cubicBezTo>
                      <a:cubicBezTo>
                        <a:pt x="893" y="95"/>
                        <a:pt x="893" y="95"/>
                        <a:pt x="892" y="94"/>
                      </a:cubicBezTo>
                      <a:cubicBezTo>
                        <a:pt x="892" y="94"/>
                        <a:pt x="891" y="93"/>
                        <a:pt x="891" y="93"/>
                      </a:cubicBezTo>
                      <a:cubicBezTo>
                        <a:pt x="891" y="92"/>
                        <a:pt x="890" y="92"/>
                        <a:pt x="890" y="91"/>
                      </a:cubicBezTo>
                      <a:cubicBezTo>
                        <a:pt x="890" y="91"/>
                        <a:pt x="889" y="90"/>
                        <a:pt x="888" y="90"/>
                      </a:cubicBezTo>
                      <a:cubicBezTo>
                        <a:pt x="888" y="89"/>
                        <a:pt x="888" y="89"/>
                        <a:pt x="888" y="89"/>
                      </a:cubicBezTo>
                      <a:cubicBezTo>
                        <a:pt x="887" y="88"/>
                        <a:pt x="886" y="87"/>
                        <a:pt x="885" y="86"/>
                      </a:cubicBezTo>
                      <a:cubicBezTo>
                        <a:pt x="884" y="85"/>
                        <a:pt x="883" y="84"/>
                        <a:pt x="881" y="83"/>
                      </a:cubicBezTo>
                      <a:cubicBezTo>
                        <a:pt x="880" y="82"/>
                        <a:pt x="880" y="82"/>
                        <a:pt x="880" y="82"/>
                      </a:cubicBezTo>
                      <a:cubicBezTo>
                        <a:pt x="880" y="81"/>
                        <a:pt x="879" y="80"/>
                        <a:pt x="878" y="80"/>
                      </a:cubicBezTo>
                      <a:cubicBezTo>
                        <a:pt x="877" y="79"/>
                        <a:pt x="877" y="79"/>
                        <a:pt x="876" y="79"/>
                      </a:cubicBezTo>
                      <a:cubicBezTo>
                        <a:pt x="876" y="78"/>
                        <a:pt x="875" y="77"/>
                        <a:pt x="874" y="77"/>
                      </a:cubicBezTo>
                      <a:cubicBezTo>
                        <a:pt x="873" y="76"/>
                        <a:pt x="873" y="76"/>
                        <a:pt x="872" y="76"/>
                      </a:cubicBezTo>
                      <a:cubicBezTo>
                        <a:pt x="872" y="75"/>
                        <a:pt x="871" y="74"/>
                        <a:pt x="870" y="74"/>
                      </a:cubicBezTo>
                      <a:cubicBezTo>
                        <a:pt x="869" y="73"/>
                        <a:pt x="869" y="73"/>
                        <a:pt x="868" y="73"/>
                      </a:cubicBezTo>
                      <a:cubicBezTo>
                        <a:pt x="867" y="72"/>
                        <a:pt x="866" y="71"/>
                        <a:pt x="865" y="71"/>
                      </a:cubicBezTo>
                      <a:cubicBezTo>
                        <a:pt x="865" y="71"/>
                        <a:pt x="864" y="70"/>
                        <a:pt x="863" y="70"/>
                      </a:cubicBezTo>
                      <a:cubicBezTo>
                        <a:pt x="862" y="69"/>
                        <a:pt x="861" y="68"/>
                        <a:pt x="860" y="68"/>
                      </a:cubicBezTo>
                      <a:cubicBezTo>
                        <a:pt x="859" y="68"/>
                        <a:pt x="859" y="67"/>
                        <a:pt x="858" y="67"/>
                      </a:cubicBezTo>
                      <a:cubicBezTo>
                        <a:pt x="857" y="66"/>
                        <a:pt x="855" y="65"/>
                        <a:pt x="853" y="64"/>
                      </a:cubicBezTo>
                      <a:cubicBezTo>
                        <a:pt x="774" y="24"/>
                        <a:pt x="613" y="0"/>
                        <a:pt x="446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37" name="Freeform 55">
                  <a:extLst>
                    <a:ext uri="{FF2B5EF4-FFF2-40B4-BE49-F238E27FC236}">
                      <a16:creationId xmlns:a16="http://schemas.microsoft.com/office/drawing/2014/main" id="{50E39A09-BCF8-3003-58CC-1951A63353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9535" y="1866593"/>
                  <a:ext cx="4403694" cy="994329"/>
                </a:xfrm>
                <a:custGeom>
                  <a:avLst/>
                  <a:gdLst>
                    <a:gd name="T0" fmla="*/ 2025 w 2032"/>
                    <a:gd name="T1" fmla="*/ 14 h 459"/>
                    <a:gd name="T2" fmla="*/ 2014 w 2032"/>
                    <a:gd name="T3" fmla="*/ 27 h 459"/>
                    <a:gd name="T4" fmla="*/ 2001 w 2032"/>
                    <a:gd name="T5" fmla="*/ 39 h 459"/>
                    <a:gd name="T6" fmla="*/ 1986 w 2032"/>
                    <a:gd name="T7" fmla="*/ 51 h 459"/>
                    <a:gd name="T8" fmla="*/ 1970 w 2032"/>
                    <a:gd name="T9" fmla="*/ 62 h 459"/>
                    <a:gd name="T10" fmla="*/ 1951 w 2032"/>
                    <a:gd name="T11" fmla="*/ 73 h 459"/>
                    <a:gd name="T12" fmla="*/ 1928 w 2032"/>
                    <a:gd name="T13" fmla="*/ 85 h 459"/>
                    <a:gd name="T14" fmla="*/ 1922 w 2032"/>
                    <a:gd name="T15" fmla="*/ 88 h 459"/>
                    <a:gd name="T16" fmla="*/ 1902 w 2032"/>
                    <a:gd name="T17" fmla="*/ 97 h 459"/>
                    <a:gd name="T18" fmla="*/ 1874 w 2032"/>
                    <a:gd name="T19" fmla="*/ 109 h 459"/>
                    <a:gd name="T20" fmla="*/ 1847 w 2032"/>
                    <a:gd name="T21" fmla="*/ 119 h 459"/>
                    <a:gd name="T22" fmla="*/ 1818 w 2032"/>
                    <a:gd name="T23" fmla="*/ 128 h 459"/>
                    <a:gd name="T24" fmla="*/ 1799 w 2032"/>
                    <a:gd name="T25" fmla="*/ 134 h 459"/>
                    <a:gd name="T26" fmla="*/ 1771 w 2032"/>
                    <a:gd name="T27" fmla="*/ 142 h 459"/>
                    <a:gd name="T28" fmla="*/ 1736 w 2032"/>
                    <a:gd name="T29" fmla="*/ 151 h 459"/>
                    <a:gd name="T30" fmla="*/ 1700 w 2032"/>
                    <a:gd name="T31" fmla="*/ 160 h 459"/>
                    <a:gd name="T32" fmla="*/ 1663 w 2032"/>
                    <a:gd name="T33" fmla="*/ 168 h 459"/>
                    <a:gd name="T34" fmla="*/ 1623 w 2032"/>
                    <a:gd name="T35" fmla="*/ 176 h 459"/>
                    <a:gd name="T36" fmla="*/ 1579 w 2032"/>
                    <a:gd name="T37" fmla="*/ 183 h 459"/>
                    <a:gd name="T38" fmla="*/ 1535 w 2032"/>
                    <a:gd name="T39" fmla="*/ 190 h 459"/>
                    <a:gd name="T40" fmla="*/ 1511 w 2032"/>
                    <a:gd name="T41" fmla="*/ 193 h 459"/>
                    <a:gd name="T42" fmla="*/ 518 w 2032"/>
                    <a:gd name="T43" fmla="*/ 191 h 459"/>
                    <a:gd name="T44" fmla="*/ 110 w 2032"/>
                    <a:gd name="T45" fmla="*/ 85 h 459"/>
                    <a:gd name="T46" fmla="*/ 82 w 2032"/>
                    <a:gd name="T47" fmla="*/ 70 h 459"/>
                    <a:gd name="T48" fmla="*/ 62 w 2032"/>
                    <a:gd name="T49" fmla="*/ 59 h 459"/>
                    <a:gd name="T50" fmla="*/ 43 w 2032"/>
                    <a:gd name="T51" fmla="*/ 46 h 459"/>
                    <a:gd name="T52" fmla="*/ 29 w 2032"/>
                    <a:gd name="T53" fmla="*/ 34 h 459"/>
                    <a:gd name="T54" fmla="*/ 16 w 2032"/>
                    <a:gd name="T55" fmla="*/ 21 h 459"/>
                    <a:gd name="T56" fmla="*/ 6 w 2032"/>
                    <a:gd name="T57" fmla="*/ 9 h 459"/>
                    <a:gd name="T58" fmla="*/ 152 w 2032"/>
                    <a:gd name="T59" fmla="*/ 267 h 459"/>
                    <a:gd name="T60" fmla="*/ 156 w 2032"/>
                    <a:gd name="T61" fmla="*/ 273 h 459"/>
                    <a:gd name="T62" fmla="*/ 161 w 2032"/>
                    <a:gd name="T63" fmla="*/ 281 h 459"/>
                    <a:gd name="T64" fmla="*/ 168 w 2032"/>
                    <a:gd name="T65" fmla="*/ 289 h 459"/>
                    <a:gd name="T66" fmla="*/ 177 w 2032"/>
                    <a:gd name="T67" fmla="*/ 297 h 459"/>
                    <a:gd name="T68" fmla="*/ 188 w 2032"/>
                    <a:gd name="T69" fmla="*/ 306 h 459"/>
                    <a:gd name="T70" fmla="*/ 198 w 2032"/>
                    <a:gd name="T71" fmla="*/ 314 h 459"/>
                    <a:gd name="T72" fmla="*/ 210 w 2032"/>
                    <a:gd name="T73" fmla="*/ 322 h 459"/>
                    <a:gd name="T74" fmla="*/ 218 w 2032"/>
                    <a:gd name="T75" fmla="*/ 326 h 459"/>
                    <a:gd name="T76" fmla="*/ 234 w 2032"/>
                    <a:gd name="T77" fmla="*/ 335 h 459"/>
                    <a:gd name="T78" fmla="*/ 953 w 2032"/>
                    <a:gd name="T79" fmla="*/ 458 h 459"/>
                    <a:gd name="T80" fmla="*/ 1094 w 2032"/>
                    <a:gd name="T81" fmla="*/ 458 h 459"/>
                    <a:gd name="T82" fmla="*/ 1429 w 2032"/>
                    <a:gd name="T83" fmla="*/ 433 h 459"/>
                    <a:gd name="T84" fmla="*/ 1474 w 2032"/>
                    <a:gd name="T85" fmla="*/ 426 h 459"/>
                    <a:gd name="T86" fmla="*/ 1522 w 2032"/>
                    <a:gd name="T87" fmla="*/ 418 h 459"/>
                    <a:gd name="T88" fmla="*/ 1563 w 2032"/>
                    <a:gd name="T89" fmla="*/ 411 h 459"/>
                    <a:gd name="T90" fmla="*/ 1606 w 2032"/>
                    <a:gd name="T91" fmla="*/ 401 h 459"/>
                    <a:gd name="T92" fmla="*/ 1642 w 2032"/>
                    <a:gd name="T93" fmla="*/ 393 h 459"/>
                    <a:gd name="T94" fmla="*/ 1679 w 2032"/>
                    <a:gd name="T95" fmla="*/ 382 h 459"/>
                    <a:gd name="T96" fmla="*/ 1706 w 2032"/>
                    <a:gd name="T97" fmla="*/ 374 h 459"/>
                    <a:gd name="T98" fmla="*/ 1739 w 2032"/>
                    <a:gd name="T99" fmla="*/ 363 h 459"/>
                    <a:gd name="T100" fmla="*/ 1764 w 2032"/>
                    <a:gd name="T101" fmla="*/ 352 h 459"/>
                    <a:gd name="T102" fmla="*/ 1792 w 2032"/>
                    <a:gd name="T103" fmla="*/ 340 h 459"/>
                    <a:gd name="T104" fmla="*/ 1812 w 2032"/>
                    <a:gd name="T105" fmla="*/ 329 h 459"/>
                    <a:gd name="T106" fmla="*/ 1822 w 2032"/>
                    <a:gd name="T107" fmla="*/ 323 h 459"/>
                    <a:gd name="T108" fmla="*/ 1841 w 2032"/>
                    <a:gd name="T109" fmla="*/ 311 h 459"/>
                    <a:gd name="T110" fmla="*/ 1856 w 2032"/>
                    <a:gd name="T111" fmla="*/ 299 h 459"/>
                    <a:gd name="T112" fmla="*/ 1868 w 2032"/>
                    <a:gd name="T113" fmla="*/ 285 h 459"/>
                    <a:gd name="T114" fmla="*/ 1877 w 2032"/>
                    <a:gd name="T115" fmla="*/ 273 h 459"/>
                    <a:gd name="T116" fmla="*/ 2032 w 2032"/>
                    <a:gd name="T117" fmla="*/ 3 h 4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32" h="459">
                      <a:moveTo>
                        <a:pt x="2029" y="8"/>
                      </a:moveTo>
                      <a:cubicBezTo>
                        <a:pt x="2029" y="9"/>
                        <a:pt x="2029" y="9"/>
                        <a:pt x="2029" y="9"/>
                      </a:cubicBezTo>
                      <a:cubicBezTo>
                        <a:pt x="2028" y="11"/>
                        <a:pt x="2026" y="12"/>
                        <a:pt x="2025" y="14"/>
                      </a:cubicBezTo>
                      <a:cubicBezTo>
                        <a:pt x="2025" y="14"/>
                        <a:pt x="2025" y="14"/>
                        <a:pt x="2025" y="14"/>
                      </a:cubicBezTo>
                      <a:cubicBezTo>
                        <a:pt x="2023" y="16"/>
                        <a:pt x="2022" y="18"/>
                        <a:pt x="2021" y="20"/>
                      </a:cubicBezTo>
                      <a:cubicBezTo>
                        <a:pt x="2020" y="20"/>
                        <a:pt x="2020" y="21"/>
                        <a:pt x="2020" y="21"/>
                      </a:cubicBezTo>
                      <a:cubicBezTo>
                        <a:pt x="2018" y="23"/>
                        <a:pt x="2016" y="24"/>
                        <a:pt x="2015" y="26"/>
                      </a:cubicBezTo>
                      <a:cubicBezTo>
                        <a:pt x="2014" y="27"/>
                        <a:pt x="2014" y="27"/>
                        <a:pt x="2014" y="27"/>
                      </a:cubicBezTo>
                      <a:cubicBezTo>
                        <a:pt x="2013" y="28"/>
                        <a:pt x="2011" y="30"/>
                        <a:pt x="2009" y="32"/>
                      </a:cubicBezTo>
                      <a:cubicBezTo>
                        <a:pt x="2009" y="32"/>
                        <a:pt x="2009" y="32"/>
                        <a:pt x="2008" y="33"/>
                      </a:cubicBezTo>
                      <a:cubicBezTo>
                        <a:pt x="2006" y="34"/>
                        <a:pt x="2005" y="36"/>
                        <a:pt x="2003" y="38"/>
                      </a:cubicBezTo>
                      <a:cubicBezTo>
                        <a:pt x="2002" y="38"/>
                        <a:pt x="2002" y="39"/>
                        <a:pt x="2001" y="39"/>
                      </a:cubicBezTo>
                      <a:cubicBezTo>
                        <a:pt x="1999" y="41"/>
                        <a:pt x="1997" y="42"/>
                        <a:pt x="1995" y="44"/>
                      </a:cubicBezTo>
                      <a:cubicBezTo>
                        <a:pt x="1995" y="44"/>
                        <a:pt x="1995" y="44"/>
                        <a:pt x="1995" y="44"/>
                      </a:cubicBezTo>
                      <a:cubicBezTo>
                        <a:pt x="1993" y="46"/>
                        <a:pt x="1990" y="48"/>
                        <a:pt x="1988" y="50"/>
                      </a:cubicBezTo>
                      <a:cubicBezTo>
                        <a:pt x="1988" y="50"/>
                        <a:pt x="1987" y="50"/>
                        <a:pt x="1986" y="51"/>
                      </a:cubicBezTo>
                      <a:cubicBezTo>
                        <a:pt x="1984" y="52"/>
                        <a:pt x="1982" y="54"/>
                        <a:pt x="1979" y="56"/>
                      </a:cubicBezTo>
                      <a:cubicBezTo>
                        <a:pt x="1978" y="56"/>
                        <a:pt x="1978" y="56"/>
                        <a:pt x="1978" y="56"/>
                      </a:cubicBezTo>
                      <a:cubicBezTo>
                        <a:pt x="1976" y="58"/>
                        <a:pt x="1974" y="60"/>
                        <a:pt x="1971" y="61"/>
                      </a:cubicBezTo>
                      <a:cubicBezTo>
                        <a:pt x="1971" y="61"/>
                        <a:pt x="1970" y="62"/>
                        <a:pt x="1970" y="62"/>
                      </a:cubicBezTo>
                      <a:cubicBezTo>
                        <a:pt x="1967" y="64"/>
                        <a:pt x="1964" y="65"/>
                        <a:pt x="1962" y="67"/>
                      </a:cubicBezTo>
                      <a:cubicBezTo>
                        <a:pt x="1961" y="67"/>
                        <a:pt x="1960" y="68"/>
                        <a:pt x="1960" y="68"/>
                      </a:cubicBezTo>
                      <a:cubicBezTo>
                        <a:pt x="1957" y="70"/>
                        <a:pt x="1954" y="71"/>
                        <a:pt x="1951" y="73"/>
                      </a:cubicBezTo>
                      <a:cubicBezTo>
                        <a:pt x="1951" y="73"/>
                        <a:pt x="1951" y="73"/>
                        <a:pt x="1951" y="73"/>
                      </a:cubicBezTo>
                      <a:cubicBezTo>
                        <a:pt x="1948" y="75"/>
                        <a:pt x="1945" y="76"/>
                        <a:pt x="1942" y="78"/>
                      </a:cubicBezTo>
                      <a:cubicBezTo>
                        <a:pt x="1941" y="78"/>
                        <a:pt x="1940" y="79"/>
                        <a:pt x="1940" y="79"/>
                      </a:cubicBezTo>
                      <a:cubicBezTo>
                        <a:pt x="1936" y="81"/>
                        <a:pt x="1933" y="82"/>
                        <a:pt x="1930" y="84"/>
                      </a:cubicBezTo>
                      <a:cubicBezTo>
                        <a:pt x="1930" y="84"/>
                        <a:pt x="1929" y="84"/>
                        <a:pt x="1928" y="85"/>
                      </a:cubicBezTo>
                      <a:cubicBezTo>
                        <a:pt x="1927" y="85"/>
                        <a:pt x="1926" y="86"/>
                        <a:pt x="1925" y="86"/>
                      </a:cubicBezTo>
                      <a:cubicBezTo>
                        <a:pt x="1925" y="87"/>
                        <a:pt x="1924" y="87"/>
                        <a:pt x="1924" y="87"/>
                      </a:cubicBezTo>
                      <a:cubicBezTo>
                        <a:pt x="1923" y="87"/>
                        <a:pt x="1923" y="87"/>
                        <a:pt x="1923" y="87"/>
                      </a:cubicBezTo>
                      <a:cubicBezTo>
                        <a:pt x="1923" y="88"/>
                        <a:pt x="1922" y="88"/>
                        <a:pt x="1922" y="88"/>
                      </a:cubicBezTo>
                      <a:cubicBezTo>
                        <a:pt x="1921" y="88"/>
                        <a:pt x="1920" y="89"/>
                        <a:pt x="1919" y="89"/>
                      </a:cubicBezTo>
                      <a:cubicBezTo>
                        <a:pt x="1917" y="90"/>
                        <a:pt x="1916" y="91"/>
                        <a:pt x="1914" y="92"/>
                      </a:cubicBezTo>
                      <a:cubicBezTo>
                        <a:pt x="1913" y="92"/>
                        <a:pt x="1913" y="92"/>
                        <a:pt x="1912" y="93"/>
                      </a:cubicBezTo>
                      <a:cubicBezTo>
                        <a:pt x="1909" y="94"/>
                        <a:pt x="1905" y="96"/>
                        <a:pt x="1902" y="97"/>
                      </a:cubicBezTo>
                      <a:cubicBezTo>
                        <a:pt x="1901" y="98"/>
                        <a:pt x="1900" y="98"/>
                        <a:pt x="1899" y="98"/>
                      </a:cubicBezTo>
                      <a:cubicBezTo>
                        <a:pt x="1896" y="100"/>
                        <a:pt x="1892" y="101"/>
                        <a:pt x="1888" y="103"/>
                      </a:cubicBezTo>
                      <a:cubicBezTo>
                        <a:pt x="1884" y="105"/>
                        <a:pt x="1881" y="106"/>
                        <a:pt x="1877" y="108"/>
                      </a:cubicBezTo>
                      <a:cubicBezTo>
                        <a:pt x="1876" y="108"/>
                        <a:pt x="1875" y="108"/>
                        <a:pt x="1874" y="109"/>
                      </a:cubicBezTo>
                      <a:cubicBezTo>
                        <a:pt x="1870" y="110"/>
                        <a:pt x="1866" y="112"/>
                        <a:pt x="1862" y="113"/>
                      </a:cubicBezTo>
                      <a:cubicBezTo>
                        <a:pt x="1862" y="113"/>
                        <a:pt x="1861" y="114"/>
                        <a:pt x="1860" y="114"/>
                      </a:cubicBezTo>
                      <a:cubicBezTo>
                        <a:pt x="1857" y="115"/>
                        <a:pt x="1853" y="117"/>
                        <a:pt x="1849" y="118"/>
                      </a:cubicBezTo>
                      <a:cubicBezTo>
                        <a:pt x="1848" y="118"/>
                        <a:pt x="1848" y="118"/>
                        <a:pt x="1847" y="119"/>
                      </a:cubicBezTo>
                      <a:cubicBezTo>
                        <a:pt x="1843" y="120"/>
                        <a:pt x="1839" y="122"/>
                        <a:pt x="1834" y="123"/>
                      </a:cubicBezTo>
                      <a:cubicBezTo>
                        <a:pt x="1834" y="123"/>
                        <a:pt x="1833" y="124"/>
                        <a:pt x="1832" y="124"/>
                      </a:cubicBezTo>
                      <a:cubicBezTo>
                        <a:pt x="1827" y="125"/>
                        <a:pt x="1823" y="127"/>
                        <a:pt x="1818" y="128"/>
                      </a:cubicBezTo>
                      <a:cubicBezTo>
                        <a:pt x="1818" y="128"/>
                        <a:pt x="1818" y="128"/>
                        <a:pt x="1818" y="128"/>
                      </a:cubicBezTo>
                      <a:cubicBezTo>
                        <a:pt x="1813" y="130"/>
                        <a:pt x="1809" y="131"/>
                        <a:pt x="1804" y="133"/>
                      </a:cubicBezTo>
                      <a:cubicBezTo>
                        <a:pt x="1803" y="133"/>
                        <a:pt x="1803" y="133"/>
                        <a:pt x="1803" y="133"/>
                      </a:cubicBezTo>
                      <a:cubicBezTo>
                        <a:pt x="1803" y="133"/>
                        <a:pt x="1802" y="133"/>
                        <a:pt x="1801" y="133"/>
                      </a:cubicBezTo>
                      <a:cubicBezTo>
                        <a:pt x="1801" y="134"/>
                        <a:pt x="1800" y="134"/>
                        <a:pt x="1799" y="134"/>
                      </a:cubicBezTo>
                      <a:cubicBezTo>
                        <a:pt x="1795" y="135"/>
                        <a:pt x="1791" y="136"/>
                        <a:pt x="1787" y="138"/>
                      </a:cubicBezTo>
                      <a:cubicBezTo>
                        <a:pt x="1787" y="138"/>
                        <a:pt x="1786" y="138"/>
                        <a:pt x="1785" y="138"/>
                      </a:cubicBezTo>
                      <a:cubicBezTo>
                        <a:pt x="1785" y="138"/>
                        <a:pt x="1785" y="138"/>
                        <a:pt x="1785" y="138"/>
                      </a:cubicBezTo>
                      <a:cubicBezTo>
                        <a:pt x="1780" y="140"/>
                        <a:pt x="1776" y="141"/>
                        <a:pt x="1771" y="142"/>
                      </a:cubicBezTo>
                      <a:cubicBezTo>
                        <a:pt x="1771" y="142"/>
                        <a:pt x="1770" y="142"/>
                        <a:pt x="1770" y="143"/>
                      </a:cubicBezTo>
                      <a:cubicBezTo>
                        <a:pt x="1765" y="144"/>
                        <a:pt x="1760" y="145"/>
                        <a:pt x="1755" y="147"/>
                      </a:cubicBezTo>
                      <a:cubicBezTo>
                        <a:pt x="1754" y="147"/>
                        <a:pt x="1752" y="147"/>
                        <a:pt x="1751" y="147"/>
                      </a:cubicBezTo>
                      <a:cubicBezTo>
                        <a:pt x="1746" y="149"/>
                        <a:pt x="1741" y="150"/>
                        <a:pt x="1736" y="151"/>
                      </a:cubicBezTo>
                      <a:cubicBezTo>
                        <a:pt x="1735" y="152"/>
                        <a:pt x="1735" y="152"/>
                        <a:pt x="1734" y="152"/>
                      </a:cubicBezTo>
                      <a:cubicBezTo>
                        <a:pt x="1729" y="153"/>
                        <a:pt x="1724" y="154"/>
                        <a:pt x="1719" y="155"/>
                      </a:cubicBezTo>
                      <a:cubicBezTo>
                        <a:pt x="1718" y="156"/>
                        <a:pt x="1717" y="156"/>
                        <a:pt x="1716" y="156"/>
                      </a:cubicBezTo>
                      <a:cubicBezTo>
                        <a:pt x="1711" y="157"/>
                        <a:pt x="1706" y="159"/>
                        <a:pt x="1700" y="160"/>
                      </a:cubicBezTo>
                      <a:cubicBezTo>
                        <a:pt x="1699" y="160"/>
                        <a:pt x="1698" y="160"/>
                        <a:pt x="1697" y="161"/>
                      </a:cubicBezTo>
                      <a:cubicBezTo>
                        <a:pt x="1692" y="162"/>
                        <a:pt x="1687" y="163"/>
                        <a:pt x="1681" y="164"/>
                      </a:cubicBezTo>
                      <a:cubicBezTo>
                        <a:pt x="1681" y="164"/>
                        <a:pt x="1680" y="164"/>
                        <a:pt x="1680" y="164"/>
                      </a:cubicBezTo>
                      <a:cubicBezTo>
                        <a:pt x="1674" y="166"/>
                        <a:pt x="1668" y="167"/>
                        <a:pt x="1663" y="168"/>
                      </a:cubicBezTo>
                      <a:cubicBezTo>
                        <a:pt x="1661" y="168"/>
                        <a:pt x="1660" y="168"/>
                        <a:pt x="1659" y="169"/>
                      </a:cubicBezTo>
                      <a:cubicBezTo>
                        <a:pt x="1653" y="170"/>
                        <a:pt x="1647" y="171"/>
                        <a:pt x="1641" y="172"/>
                      </a:cubicBezTo>
                      <a:cubicBezTo>
                        <a:pt x="1641" y="172"/>
                        <a:pt x="1640" y="172"/>
                        <a:pt x="1639" y="173"/>
                      </a:cubicBezTo>
                      <a:cubicBezTo>
                        <a:pt x="1634" y="174"/>
                        <a:pt x="1628" y="175"/>
                        <a:pt x="1623" y="176"/>
                      </a:cubicBezTo>
                      <a:cubicBezTo>
                        <a:pt x="1622" y="176"/>
                        <a:pt x="1620" y="176"/>
                        <a:pt x="1619" y="176"/>
                      </a:cubicBezTo>
                      <a:cubicBezTo>
                        <a:pt x="1613" y="177"/>
                        <a:pt x="1607" y="178"/>
                        <a:pt x="1601" y="179"/>
                      </a:cubicBezTo>
                      <a:cubicBezTo>
                        <a:pt x="1600" y="180"/>
                        <a:pt x="1599" y="180"/>
                        <a:pt x="1597" y="180"/>
                      </a:cubicBezTo>
                      <a:cubicBezTo>
                        <a:pt x="1591" y="181"/>
                        <a:pt x="1585" y="182"/>
                        <a:pt x="1579" y="183"/>
                      </a:cubicBezTo>
                      <a:cubicBezTo>
                        <a:pt x="1578" y="183"/>
                        <a:pt x="1578" y="183"/>
                        <a:pt x="1578" y="183"/>
                      </a:cubicBezTo>
                      <a:cubicBezTo>
                        <a:pt x="1572" y="184"/>
                        <a:pt x="1565" y="185"/>
                        <a:pt x="1559" y="186"/>
                      </a:cubicBezTo>
                      <a:cubicBezTo>
                        <a:pt x="1558" y="187"/>
                        <a:pt x="1556" y="187"/>
                        <a:pt x="1555" y="187"/>
                      </a:cubicBezTo>
                      <a:cubicBezTo>
                        <a:pt x="1548" y="188"/>
                        <a:pt x="1542" y="189"/>
                        <a:pt x="1535" y="190"/>
                      </a:cubicBezTo>
                      <a:cubicBezTo>
                        <a:pt x="1534" y="190"/>
                        <a:pt x="1533" y="190"/>
                        <a:pt x="1532" y="190"/>
                      </a:cubicBezTo>
                      <a:cubicBezTo>
                        <a:pt x="1531" y="191"/>
                        <a:pt x="1530" y="191"/>
                        <a:pt x="1529" y="191"/>
                      </a:cubicBezTo>
                      <a:cubicBezTo>
                        <a:pt x="1524" y="192"/>
                        <a:pt x="1519" y="192"/>
                        <a:pt x="1514" y="193"/>
                      </a:cubicBezTo>
                      <a:cubicBezTo>
                        <a:pt x="1513" y="193"/>
                        <a:pt x="1512" y="193"/>
                        <a:pt x="1511" y="193"/>
                      </a:cubicBezTo>
                      <a:cubicBezTo>
                        <a:pt x="1504" y="194"/>
                        <a:pt x="1497" y="195"/>
                        <a:pt x="1491" y="196"/>
                      </a:cubicBezTo>
                      <a:cubicBezTo>
                        <a:pt x="1489" y="196"/>
                        <a:pt x="1488" y="197"/>
                        <a:pt x="1486" y="197"/>
                      </a:cubicBezTo>
                      <a:cubicBezTo>
                        <a:pt x="1479" y="198"/>
                        <a:pt x="1472" y="199"/>
                        <a:pt x="1465" y="199"/>
                      </a:cubicBezTo>
                      <a:cubicBezTo>
                        <a:pt x="1153" y="237"/>
                        <a:pt x="800" y="232"/>
                        <a:pt x="518" y="191"/>
                      </a:cubicBezTo>
                      <a:cubicBezTo>
                        <a:pt x="513" y="191"/>
                        <a:pt x="507" y="190"/>
                        <a:pt x="502" y="189"/>
                      </a:cubicBezTo>
                      <a:cubicBezTo>
                        <a:pt x="407" y="175"/>
                        <a:pt x="321" y="157"/>
                        <a:pt x="247" y="136"/>
                      </a:cubicBezTo>
                      <a:cubicBezTo>
                        <a:pt x="246" y="136"/>
                        <a:pt x="246" y="136"/>
                        <a:pt x="246" y="136"/>
                      </a:cubicBezTo>
                      <a:cubicBezTo>
                        <a:pt x="194" y="120"/>
                        <a:pt x="148" y="103"/>
                        <a:pt x="110" y="85"/>
                      </a:cubicBezTo>
                      <a:cubicBezTo>
                        <a:pt x="108" y="84"/>
                        <a:pt x="107" y="83"/>
                        <a:pt x="105" y="82"/>
                      </a:cubicBezTo>
                      <a:cubicBezTo>
                        <a:pt x="102" y="81"/>
                        <a:pt x="98" y="79"/>
                        <a:pt x="95" y="77"/>
                      </a:cubicBezTo>
                      <a:cubicBezTo>
                        <a:pt x="91" y="75"/>
                        <a:pt x="88" y="74"/>
                        <a:pt x="85" y="72"/>
                      </a:cubicBezTo>
                      <a:cubicBezTo>
                        <a:pt x="84" y="71"/>
                        <a:pt x="83" y="71"/>
                        <a:pt x="82" y="70"/>
                      </a:cubicBezTo>
                      <a:cubicBezTo>
                        <a:pt x="79" y="69"/>
                        <a:pt x="77" y="67"/>
                        <a:pt x="75" y="66"/>
                      </a:cubicBezTo>
                      <a:cubicBezTo>
                        <a:pt x="74" y="66"/>
                        <a:pt x="73" y="65"/>
                        <a:pt x="71" y="64"/>
                      </a:cubicBezTo>
                      <a:cubicBezTo>
                        <a:pt x="69" y="63"/>
                        <a:pt x="67" y="62"/>
                        <a:pt x="65" y="60"/>
                      </a:cubicBezTo>
                      <a:cubicBezTo>
                        <a:pt x="64" y="60"/>
                        <a:pt x="63" y="59"/>
                        <a:pt x="62" y="59"/>
                      </a:cubicBezTo>
                      <a:cubicBezTo>
                        <a:pt x="59" y="57"/>
                        <a:pt x="57" y="55"/>
                        <a:pt x="54" y="53"/>
                      </a:cubicBezTo>
                      <a:cubicBezTo>
                        <a:pt x="53" y="53"/>
                        <a:pt x="53" y="52"/>
                        <a:pt x="52" y="52"/>
                      </a:cubicBezTo>
                      <a:cubicBezTo>
                        <a:pt x="50" y="51"/>
                        <a:pt x="48" y="49"/>
                        <a:pt x="46" y="48"/>
                      </a:cubicBezTo>
                      <a:cubicBezTo>
                        <a:pt x="45" y="47"/>
                        <a:pt x="44" y="46"/>
                        <a:pt x="43" y="46"/>
                      </a:cubicBezTo>
                      <a:cubicBezTo>
                        <a:pt x="42" y="44"/>
                        <a:pt x="40" y="43"/>
                        <a:pt x="38" y="42"/>
                      </a:cubicBezTo>
                      <a:cubicBezTo>
                        <a:pt x="37" y="41"/>
                        <a:pt x="37" y="41"/>
                        <a:pt x="36" y="40"/>
                      </a:cubicBezTo>
                      <a:cubicBezTo>
                        <a:pt x="34" y="38"/>
                        <a:pt x="32" y="37"/>
                        <a:pt x="30" y="35"/>
                      </a:cubicBezTo>
                      <a:cubicBezTo>
                        <a:pt x="29" y="34"/>
                        <a:pt x="29" y="34"/>
                        <a:pt x="29" y="34"/>
                      </a:cubicBezTo>
                      <a:cubicBezTo>
                        <a:pt x="27" y="32"/>
                        <a:pt x="25" y="31"/>
                        <a:pt x="23" y="29"/>
                      </a:cubicBezTo>
                      <a:cubicBezTo>
                        <a:pt x="23" y="28"/>
                        <a:pt x="22" y="28"/>
                        <a:pt x="21" y="27"/>
                      </a:cubicBezTo>
                      <a:cubicBezTo>
                        <a:pt x="20" y="26"/>
                        <a:pt x="19" y="24"/>
                        <a:pt x="18" y="23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14" y="20"/>
                        <a:pt x="13" y="18"/>
                        <a:pt x="12" y="17"/>
                      </a:cubicBezTo>
                      <a:cubicBezTo>
                        <a:pt x="12" y="16"/>
                        <a:pt x="11" y="16"/>
                        <a:pt x="11" y="15"/>
                      </a:cubicBezTo>
                      <a:cubicBezTo>
                        <a:pt x="9" y="13"/>
                        <a:pt x="8" y="12"/>
                        <a:pt x="6" y="10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4" y="7"/>
                        <a:pt x="3" y="5"/>
                        <a:pt x="2" y="4"/>
                      </a:cubicBezTo>
                      <a:cubicBezTo>
                        <a:pt x="2" y="3"/>
                        <a:pt x="2" y="3"/>
                        <a:pt x="1" y="2"/>
                      </a:cubicBezTo>
                      <a:cubicBezTo>
                        <a:pt x="1" y="1"/>
                        <a:pt x="1" y="1"/>
                        <a:pt x="0" y="0"/>
                      </a:cubicBezTo>
                      <a:cubicBezTo>
                        <a:pt x="51" y="89"/>
                        <a:pt x="101" y="178"/>
                        <a:pt x="152" y="267"/>
                      </a:cubicBezTo>
                      <a:cubicBezTo>
                        <a:pt x="153" y="268"/>
                        <a:pt x="153" y="268"/>
                        <a:pt x="153" y="268"/>
                      </a:cubicBezTo>
                      <a:cubicBezTo>
                        <a:pt x="153" y="269"/>
                        <a:pt x="153" y="269"/>
                        <a:pt x="153" y="269"/>
                      </a:cubicBezTo>
                      <a:cubicBezTo>
                        <a:pt x="153" y="269"/>
                        <a:pt x="154" y="270"/>
                        <a:pt x="154" y="270"/>
                      </a:cubicBezTo>
                      <a:cubicBezTo>
                        <a:pt x="154" y="271"/>
                        <a:pt x="155" y="272"/>
                        <a:pt x="156" y="273"/>
                      </a:cubicBezTo>
                      <a:cubicBezTo>
                        <a:pt x="156" y="273"/>
                        <a:pt x="156" y="274"/>
                        <a:pt x="157" y="274"/>
                      </a:cubicBezTo>
                      <a:cubicBezTo>
                        <a:pt x="157" y="275"/>
                        <a:pt x="158" y="276"/>
                        <a:pt x="158" y="277"/>
                      </a:cubicBezTo>
                      <a:cubicBezTo>
                        <a:pt x="159" y="277"/>
                        <a:pt x="159" y="278"/>
                        <a:pt x="159" y="278"/>
                      </a:cubicBezTo>
                      <a:cubicBezTo>
                        <a:pt x="160" y="279"/>
                        <a:pt x="161" y="280"/>
                        <a:pt x="161" y="281"/>
                      </a:cubicBezTo>
                      <a:cubicBezTo>
                        <a:pt x="162" y="281"/>
                        <a:pt x="162" y="282"/>
                        <a:pt x="163" y="282"/>
                      </a:cubicBezTo>
                      <a:cubicBezTo>
                        <a:pt x="163" y="283"/>
                        <a:pt x="164" y="284"/>
                        <a:pt x="165" y="285"/>
                      </a:cubicBezTo>
                      <a:cubicBezTo>
                        <a:pt x="165" y="285"/>
                        <a:pt x="165" y="286"/>
                        <a:pt x="166" y="286"/>
                      </a:cubicBezTo>
                      <a:cubicBezTo>
                        <a:pt x="167" y="287"/>
                        <a:pt x="167" y="288"/>
                        <a:pt x="168" y="289"/>
                      </a:cubicBezTo>
                      <a:cubicBezTo>
                        <a:pt x="169" y="289"/>
                        <a:pt x="169" y="290"/>
                        <a:pt x="170" y="290"/>
                      </a:cubicBezTo>
                      <a:cubicBezTo>
                        <a:pt x="171" y="291"/>
                        <a:pt x="171" y="292"/>
                        <a:pt x="172" y="293"/>
                      </a:cubicBezTo>
                      <a:cubicBezTo>
                        <a:pt x="173" y="293"/>
                        <a:pt x="173" y="294"/>
                        <a:pt x="174" y="294"/>
                      </a:cubicBezTo>
                      <a:cubicBezTo>
                        <a:pt x="175" y="295"/>
                        <a:pt x="176" y="296"/>
                        <a:pt x="177" y="297"/>
                      </a:cubicBezTo>
                      <a:cubicBezTo>
                        <a:pt x="177" y="297"/>
                        <a:pt x="178" y="298"/>
                        <a:pt x="178" y="298"/>
                      </a:cubicBezTo>
                      <a:cubicBezTo>
                        <a:pt x="179" y="299"/>
                        <a:pt x="181" y="301"/>
                        <a:pt x="183" y="302"/>
                      </a:cubicBezTo>
                      <a:cubicBezTo>
                        <a:pt x="183" y="303"/>
                        <a:pt x="183" y="303"/>
                        <a:pt x="183" y="303"/>
                      </a:cubicBezTo>
                      <a:cubicBezTo>
                        <a:pt x="185" y="304"/>
                        <a:pt x="186" y="305"/>
                        <a:pt x="188" y="306"/>
                      </a:cubicBezTo>
                      <a:cubicBezTo>
                        <a:pt x="188" y="306"/>
                        <a:pt x="189" y="307"/>
                        <a:pt x="189" y="307"/>
                      </a:cubicBezTo>
                      <a:cubicBezTo>
                        <a:pt x="190" y="308"/>
                        <a:pt x="192" y="309"/>
                        <a:pt x="193" y="310"/>
                      </a:cubicBezTo>
                      <a:cubicBezTo>
                        <a:pt x="193" y="310"/>
                        <a:pt x="194" y="311"/>
                        <a:pt x="195" y="311"/>
                      </a:cubicBezTo>
                      <a:cubicBezTo>
                        <a:pt x="196" y="312"/>
                        <a:pt x="197" y="313"/>
                        <a:pt x="198" y="314"/>
                      </a:cubicBezTo>
                      <a:cubicBezTo>
                        <a:pt x="199" y="314"/>
                        <a:pt x="200" y="315"/>
                        <a:pt x="201" y="315"/>
                      </a:cubicBezTo>
                      <a:cubicBezTo>
                        <a:pt x="202" y="316"/>
                        <a:pt x="203" y="317"/>
                        <a:pt x="204" y="318"/>
                      </a:cubicBezTo>
                      <a:cubicBezTo>
                        <a:pt x="205" y="318"/>
                        <a:pt x="206" y="319"/>
                        <a:pt x="207" y="319"/>
                      </a:cubicBezTo>
                      <a:cubicBezTo>
                        <a:pt x="208" y="320"/>
                        <a:pt x="209" y="321"/>
                        <a:pt x="210" y="322"/>
                      </a:cubicBezTo>
                      <a:cubicBezTo>
                        <a:pt x="211" y="322"/>
                        <a:pt x="211" y="322"/>
                        <a:pt x="212" y="322"/>
                      </a:cubicBezTo>
                      <a:cubicBezTo>
                        <a:pt x="212" y="323"/>
                        <a:pt x="213" y="323"/>
                        <a:pt x="213" y="323"/>
                      </a:cubicBezTo>
                      <a:cubicBezTo>
                        <a:pt x="214" y="324"/>
                        <a:pt x="216" y="325"/>
                        <a:pt x="217" y="325"/>
                      </a:cubicBezTo>
                      <a:cubicBezTo>
                        <a:pt x="218" y="326"/>
                        <a:pt x="218" y="326"/>
                        <a:pt x="218" y="326"/>
                      </a:cubicBezTo>
                      <a:cubicBezTo>
                        <a:pt x="218" y="326"/>
                        <a:pt x="219" y="327"/>
                        <a:pt x="220" y="327"/>
                      </a:cubicBezTo>
                      <a:cubicBezTo>
                        <a:pt x="221" y="328"/>
                        <a:pt x="223" y="329"/>
                        <a:pt x="224" y="330"/>
                      </a:cubicBezTo>
                      <a:cubicBezTo>
                        <a:pt x="225" y="330"/>
                        <a:pt x="226" y="330"/>
                        <a:pt x="226" y="331"/>
                      </a:cubicBezTo>
                      <a:cubicBezTo>
                        <a:pt x="229" y="332"/>
                        <a:pt x="231" y="333"/>
                        <a:pt x="234" y="335"/>
                      </a:cubicBezTo>
                      <a:cubicBezTo>
                        <a:pt x="326" y="382"/>
                        <a:pt x="478" y="418"/>
                        <a:pt x="655" y="438"/>
                      </a:cubicBezTo>
                      <a:cubicBezTo>
                        <a:pt x="744" y="448"/>
                        <a:pt x="839" y="455"/>
                        <a:pt x="937" y="457"/>
                      </a:cubicBezTo>
                      <a:cubicBezTo>
                        <a:pt x="938" y="457"/>
                        <a:pt x="940" y="457"/>
                        <a:pt x="941" y="457"/>
                      </a:cubicBezTo>
                      <a:cubicBezTo>
                        <a:pt x="945" y="458"/>
                        <a:pt x="949" y="458"/>
                        <a:pt x="953" y="458"/>
                      </a:cubicBezTo>
                      <a:cubicBezTo>
                        <a:pt x="994" y="458"/>
                        <a:pt x="1036" y="459"/>
                        <a:pt x="1077" y="458"/>
                      </a:cubicBezTo>
                      <a:cubicBezTo>
                        <a:pt x="1081" y="458"/>
                        <a:pt x="1086" y="458"/>
                        <a:pt x="1090" y="458"/>
                      </a:cubicBezTo>
                      <a:cubicBezTo>
                        <a:pt x="1091" y="458"/>
                        <a:pt x="1092" y="458"/>
                        <a:pt x="1093" y="458"/>
                      </a:cubicBezTo>
                      <a:cubicBezTo>
                        <a:pt x="1094" y="458"/>
                        <a:pt x="1094" y="458"/>
                        <a:pt x="1094" y="458"/>
                      </a:cubicBezTo>
                      <a:cubicBezTo>
                        <a:pt x="1189" y="456"/>
                        <a:pt x="1284" y="450"/>
                        <a:pt x="1375" y="439"/>
                      </a:cubicBezTo>
                      <a:cubicBezTo>
                        <a:pt x="1383" y="438"/>
                        <a:pt x="1391" y="438"/>
                        <a:pt x="1399" y="437"/>
                      </a:cubicBezTo>
                      <a:cubicBezTo>
                        <a:pt x="1407" y="436"/>
                        <a:pt x="1414" y="435"/>
                        <a:pt x="1422" y="434"/>
                      </a:cubicBezTo>
                      <a:cubicBezTo>
                        <a:pt x="1424" y="433"/>
                        <a:pt x="1427" y="433"/>
                        <a:pt x="1429" y="433"/>
                      </a:cubicBezTo>
                      <a:cubicBezTo>
                        <a:pt x="1434" y="432"/>
                        <a:pt x="1439" y="431"/>
                        <a:pt x="1445" y="431"/>
                      </a:cubicBezTo>
                      <a:cubicBezTo>
                        <a:pt x="1447" y="430"/>
                        <a:pt x="1450" y="430"/>
                        <a:pt x="1452" y="429"/>
                      </a:cubicBezTo>
                      <a:cubicBezTo>
                        <a:pt x="1457" y="429"/>
                        <a:pt x="1462" y="428"/>
                        <a:pt x="1467" y="427"/>
                      </a:cubicBezTo>
                      <a:cubicBezTo>
                        <a:pt x="1470" y="427"/>
                        <a:pt x="1472" y="427"/>
                        <a:pt x="1474" y="426"/>
                      </a:cubicBezTo>
                      <a:cubicBezTo>
                        <a:pt x="1481" y="425"/>
                        <a:pt x="1487" y="424"/>
                        <a:pt x="1494" y="423"/>
                      </a:cubicBezTo>
                      <a:cubicBezTo>
                        <a:pt x="1494" y="423"/>
                        <a:pt x="1495" y="423"/>
                        <a:pt x="1495" y="423"/>
                      </a:cubicBezTo>
                      <a:cubicBezTo>
                        <a:pt x="1502" y="422"/>
                        <a:pt x="1509" y="421"/>
                        <a:pt x="1516" y="419"/>
                      </a:cubicBezTo>
                      <a:cubicBezTo>
                        <a:pt x="1518" y="419"/>
                        <a:pt x="1520" y="419"/>
                        <a:pt x="1522" y="418"/>
                      </a:cubicBezTo>
                      <a:cubicBezTo>
                        <a:pt x="1527" y="417"/>
                        <a:pt x="1532" y="417"/>
                        <a:pt x="1536" y="416"/>
                      </a:cubicBezTo>
                      <a:cubicBezTo>
                        <a:pt x="1539" y="415"/>
                        <a:pt x="1541" y="415"/>
                        <a:pt x="1543" y="414"/>
                      </a:cubicBezTo>
                      <a:cubicBezTo>
                        <a:pt x="1548" y="414"/>
                        <a:pt x="1552" y="413"/>
                        <a:pt x="1557" y="412"/>
                      </a:cubicBezTo>
                      <a:cubicBezTo>
                        <a:pt x="1559" y="411"/>
                        <a:pt x="1561" y="411"/>
                        <a:pt x="1563" y="411"/>
                      </a:cubicBezTo>
                      <a:cubicBezTo>
                        <a:pt x="1569" y="409"/>
                        <a:pt x="1574" y="408"/>
                        <a:pt x="1579" y="407"/>
                      </a:cubicBezTo>
                      <a:cubicBezTo>
                        <a:pt x="1580" y="407"/>
                        <a:pt x="1581" y="407"/>
                        <a:pt x="1582" y="407"/>
                      </a:cubicBezTo>
                      <a:cubicBezTo>
                        <a:pt x="1588" y="405"/>
                        <a:pt x="1594" y="404"/>
                        <a:pt x="1600" y="403"/>
                      </a:cubicBezTo>
                      <a:cubicBezTo>
                        <a:pt x="1602" y="402"/>
                        <a:pt x="1604" y="402"/>
                        <a:pt x="1606" y="401"/>
                      </a:cubicBezTo>
                      <a:cubicBezTo>
                        <a:pt x="1610" y="400"/>
                        <a:pt x="1614" y="399"/>
                        <a:pt x="1618" y="398"/>
                      </a:cubicBezTo>
                      <a:cubicBezTo>
                        <a:pt x="1621" y="398"/>
                        <a:pt x="1623" y="397"/>
                        <a:pt x="1625" y="397"/>
                      </a:cubicBezTo>
                      <a:cubicBezTo>
                        <a:pt x="1629" y="396"/>
                        <a:pt x="1632" y="395"/>
                        <a:pt x="1636" y="394"/>
                      </a:cubicBezTo>
                      <a:cubicBezTo>
                        <a:pt x="1638" y="394"/>
                        <a:pt x="1640" y="393"/>
                        <a:pt x="1642" y="393"/>
                      </a:cubicBezTo>
                      <a:cubicBezTo>
                        <a:pt x="1647" y="391"/>
                        <a:pt x="1651" y="390"/>
                        <a:pt x="1656" y="389"/>
                      </a:cubicBezTo>
                      <a:cubicBezTo>
                        <a:pt x="1657" y="389"/>
                        <a:pt x="1658" y="388"/>
                        <a:pt x="1659" y="388"/>
                      </a:cubicBezTo>
                      <a:cubicBezTo>
                        <a:pt x="1664" y="387"/>
                        <a:pt x="1669" y="385"/>
                        <a:pt x="1675" y="384"/>
                      </a:cubicBezTo>
                      <a:cubicBezTo>
                        <a:pt x="1676" y="383"/>
                        <a:pt x="1678" y="383"/>
                        <a:pt x="1679" y="382"/>
                      </a:cubicBezTo>
                      <a:cubicBezTo>
                        <a:pt x="1681" y="382"/>
                        <a:pt x="1682" y="382"/>
                        <a:pt x="1683" y="381"/>
                      </a:cubicBezTo>
                      <a:cubicBezTo>
                        <a:pt x="1686" y="380"/>
                        <a:pt x="1688" y="380"/>
                        <a:pt x="1690" y="379"/>
                      </a:cubicBezTo>
                      <a:cubicBezTo>
                        <a:pt x="1692" y="378"/>
                        <a:pt x="1694" y="378"/>
                        <a:pt x="1696" y="377"/>
                      </a:cubicBezTo>
                      <a:cubicBezTo>
                        <a:pt x="1699" y="376"/>
                        <a:pt x="1702" y="375"/>
                        <a:pt x="1706" y="374"/>
                      </a:cubicBezTo>
                      <a:cubicBezTo>
                        <a:pt x="1707" y="374"/>
                        <a:pt x="1709" y="373"/>
                        <a:pt x="1711" y="372"/>
                      </a:cubicBezTo>
                      <a:cubicBezTo>
                        <a:pt x="1714" y="371"/>
                        <a:pt x="1718" y="370"/>
                        <a:pt x="1722" y="369"/>
                      </a:cubicBezTo>
                      <a:cubicBezTo>
                        <a:pt x="1723" y="368"/>
                        <a:pt x="1724" y="368"/>
                        <a:pt x="1725" y="368"/>
                      </a:cubicBezTo>
                      <a:cubicBezTo>
                        <a:pt x="1730" y="366"/>
                        <a:pt x="1734" y="364"/>
                        <a:pt x="1739" y="363"/>
                      </a:cubicBezTo>
                      <a:cubicBezTo>
                        <a:pt x="1740" y="362"/>
                        <a:pt x="1741" y="362"/>
                        <a:pt x="1742" y="361"/>
                      </a:cubicBezTo>
                      <a:cubicBezTo>
                        <a:pt x="1745" y="360"/>
                        <a:pt x="1748" y="359"/>
                        <a:pt x="1752" y="358"/>
                      </a:cubicBezTo>
                      <a:cubicBezTo>
                        <a:pt x="1753" y="357"/>
                        <a:pt x="1755" y="356"/>
                        <a:pt x="1756" y="356"/>
                      </a:cubicBezTo>
                      <a:cubicBezTo>
                        <a:pt x="1759" y="355"/>
                        <a:pt x="1762" y="354"/>
                        <a:pt x="1764" y="352"/>
                      </a:cubicBezTo>
                      <a:cubicBezTo>
                        <a:pt x="1766" y="352"/>
                        <a:pt x="1767" y="351"/>
                        <a:pt x="1769" y="351"/>
                      </a:cubicBezTo>
                      <a:cubicBezTo>
                        <a:pt x="1772" y="349"/>
                        <a:pt x="1775" y="348"/>
                        <a:pt x="1778" y="347"/>
                      </a:cubicBezTo>
                      <a:cubicBezTo>
                        <a:pt x="1779" y="346"/>
                        <a:pt x="1780" y="346"/>
                        <a:pt x="1780" y="345"/>
                      </a:cubicBezTo>
                      <a:cubicBezTo>
                        <a:pt x="1784" y="344"/>
                        <a:pt x="1788" y="342"/>
                        <a:pt x="1792" y="340"/>
                      </a:cubicBezTo>
                      <a:cubicBezTo>
                        <a:pt x="1792" y="340"/>
                        <a:pt x="1793" y="339"/>
                        <a:pt x="1794" y="339"/>
                      </a:cubicBezTo>
                      <a:cubicBezTo>
                        <a:pt x="1797" y="338"/>
                        <a:pt x="1799" y="336"/>
                        <a:pt x="1802" y="335"/>
                      </a:cubicBezTo>
                      <a:cubicBezTo>
                        <a:pt x="1803" y="334"/>
                        <a:pt x="1804" y="334"/>
                        <a:pt x="1806" y="333"/>
                      </a:cubicBezTo>
                      <a:cubicBezTo>
                        <a:pt x="1808" y="332"/>
                        <a:pt x="1810" y="330"/>
                        <a:pt x="1812" y="329"/>
                      </a:cubicBezTo>
                      <a:cubicBezTo>
                        <a:pt x="1813" y="329"/>
                        <a:pt x="1813" y="329"/>
                        <a:pt x="1813" y="329"/>
                      </a:cubicBezTo>
                      <a:cubicBezTo>
                        <a:pt x="1814" y="328"/>
                        <a:pt x="1815" y="328"/>
                        <a:pt x="1816" y="327"/>
                      </a:cubicBezTo>
                      <a:cubicBezTo>
                        <a:pt x="1817" y="327"/>
                        <a:pt x="1818" y="326"/>
                        <a:pt x="1820" y="325"/>
                      </a:cubicBezTo>
                      <a:cubicBezTo>
                        <a:pt x="1820" y="324"/>
                        <a:pt x="1821" y="324"/>
                        <a:pt x="1822" y="323"/>
                      </a:cubicBezTo>
                      <a:cubicBezTo>
                        <a:pt x="1823" y="323"/>
                        <a:pt x="1824" y="322"/>
                        <a:pt x="1825" y="322"/>
                      </a:cubicBezTo>
                      <a:cubicBezTo>
                        <a:pt x="1828" y="320"/>
                        <a:pt x="1830" y="318"/>
                        <a:pt x="1833" y="316"/>
                      </a:cubicBezTo>
                      <a:cubicBezTo>
                        <a:pt x="1834" y="316"/>
                        <a:pt x="1834" y="315"/>
                        <a:pt x="1835" y="315"/>
                      </a:cubicBezTo>
                      <a:cubicBezTo>
                        <a:pt x="1837" y="314"/>
                        <a:pt x="1839" y="312"/>
                        <a:pt x="1841" y="311"/>
                      </a:cubicBezTo>
                      <a:cubicBezTo>
                        <a:pt x="1842" y="310"/>
                        <a:pt x="1843" y="309"/>
                        <a:pt x="1844" y="309"/>
                      </a:cubicBezTo>
                      <a:cubicBezTo>
                        <a:pt x="1845" y="307"/>
                        <a:pt x="1847" y="306"/>
                        <a:pt x="1849" y="305"/>
                      </a:cubicBezTo>
                      <a:cubicBezTo>
                        <a:pt x="1849" y="304"/>
                        <a:pt x="1850" y="303"/>
                        <a:pt x="1851" y="303"/>
                      </a:cubicBezTo>
                      <a:cubicBezTo>
                        <a:pt x="1853" y="301"/>
                        <a:pt x="1854" y="300"/>
                        <a:pt x="1856" y="299"/>
                      </a:cubicBezTo>
                      <a:cubicBezTo>
                        <a:pt x="1856" y="298"/>
                        <a:pt x="1857" y="298"/>
                        <a:pt x="1857" y="297"/>
                      </a:cubicBezTo>
                      <a:cubicBezTo>
                        <a:pt x="1860" y="295"/>
                        <a:pt x="1861" y="293"/>
                        <a:pt x="1863" y="291"/>
                      </a:cubicBezTo>
                      <a:cubicBezTo>
                        <a:pt x="1864" y="290"/>
                        <a:pt x="1864" y="290"/>
                        <a:pt x="1864" y="290"/>
                      </a:cubicBezTo>
                      <a:cubicBezTo>
                        <a:pt x="1866" y="289"/>
                        <a:pt x="1867" y="287"/>
                        <a:pt x="1868" y="285"/>
                      </a:cubicBezTo>
                      <a:cubicBezTo>
                        <a:pt x="1869" y="285"/>
                        <a:pt x="1869" y="284"/>
                        <a:pt x="1870" y="283"/>
                      </a:cubicBezTo>
                      <a:cubicBezTo>
                        <a:pt x="1871" y="282"/>
                        <a:pt x="1872" y="281"/>
                        <a:pt x="1873" y="279"/>
                      </a:cubicBezTo>
                      <a:cubicBezTo>
                        <a:pt x="1874" y="279"/>
                        <a:pt x="1874" y="278"/>
                        <a:pt x="1875" y="277"/>
                      </a:cubicBezTo>
                      <a:cubicBezTo>
                        <a:pt x="1875" y="276"/>
                        <a:pt x="1876" y="274"/>
                        <a:pt x="1877" y="273"/>
                      </a:cubicBezTo>
                      <a:cubicBezTo>
                        <a:pt x="1878" y="272"/>
                        <a:pt x="1878" y="272"/>
                        <a:pt x="1878" y="272"/>
                      </a:cubicBezTo>
                      <a:cubicBezTo>
                        <a:pt x="1878" y="272"/>
                        <a:pt x="1878" y="272"/>
                        <a:pt x="1878" y="271"/>
                      </a:cubicBezTo>
                      <a:cubicBezTo>
                        <a:pt x="1879" y="271"/>
                        <a:pt x="1879" y="270"/>
                        <a:pt x="1879" y="270"/>
                      </a:cubicBezTo>
                      <a:cubicBezTo>
                        <a:pt x="1930" y="181"/>
                        <a:pt x="1981" y="92"/>
                        <a:pt x="2032" y="3"/>
                      </a:cubicBezTo>
                      <a:cubicBezTo>
                        <a:pt x="2031" y="5"/>
                        <a:pt x="2030" y="6"/>
                        <a:pt x="2029" y="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  <p:sp>
              <p:nvSpPr>
                <p:cNvPr id="38" name="Freeform 56">
                  <a:extLst>
                    <a:ext uri="{FF2B5EF4-FFF2-40B4-BE49-F238E27FC236}">
                      <a16:creationId xmlns:a16="http://schemas.microsoft.com/office/drawing/2014/main" id="{6370F7B3-021C-2136-D108-C0C5E3B2271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9555" y="1232021"/>
                  <a:ext cx="4466985" cy="1137566"/>
                </a:xfrm>
                <a:custGeom>
                  <a:avLst/>
                  <a:gdLst>
                    <a:gd name="T0" fmla="*/ 117 w 2061"/>
                    <a:gd name="T1" fmla="*/ 382 h 525"/>
                    <a:gd name="T2" fmla="*/ 74 w 2061"/>
                    <a:gd name="T3" fmla="*/ 358 h 525"/>
                    <a:gd name="T4" fmla="*/ 34 w 2061"/>
                    <a:gd name="T5" fmla="*/ 328 h 525"/>
                    <a:gd name="T6" fmla="*/ 12 w 2061"/>
                    <a:gd name="T7" fmla="*/ 301 h 525"/>
                    <a:gd name="T8" fmla="*/ 2 w 2061"/>
                    <a:gd name="T9" fmla="*/ 276 h 525"/>
                    <a:gd name="T10" fmla="*/ 1 w 2061"/>
                    <a:gd name="T11" fmla="*/ 248 h 525"/>
                    <a:gd name="T12" fmla="*/ 7 w 2061"/>
                    <a:gd name="T13" fmla="*/ 229 h 525"/>
                    <a:gd name="T14" fmla="*/ 28 w 2061"/>
                    <a:gd name="T15" fmla="*/ 199 h 525"/>
                    <a:gd name="T16" fmla="*/ 59 w 2061"/>
                    <a:gd name="T17" fmla="*/ 173 h 525"/>
                    <a:gd name="T18" fmla="*/ 96 w 2061"/>
                    <a:gd name="T19" fmla="*/ 150 h 525"/>
                    <a:gd name="T20" fmla="*/ 138 w 2061"/>
                    <a:gd name="T21" fmla="*/ 129 h 525"/>
                    <a:gd name="T22" fmla="*/ 192 w 2061"/>
                    <a:gd name="T23" fmla="*/ 108 h 525"/>
                    <a:gd name="T24" fmla="*/ 242 w 2061"/>
                    <a:gd name="T25" fmla="*/ 92 h 525"/>
                    <a:gd name="T26" fmla="*/ 302 w 2061"/>
                    <a:gd name="T27" fmla="*/ 75 h 525"/>
                    <a:gd name="T28" fmla="*/ 405 w 2061"/>
                    <a:gd name="T29" fmla="*/ 53 h 525"/>
                    <a:gd name="T30" fmla="*/ 513 w 2061"/>
                    <a:gd name="T31" fmla="*/ 35 h 525"/>
                    <a:gd name="T32" fmla="*/ 1954 w 2061"/>
                    <a:gd name="T33" fmla="*/ 147 h 525"/>
                    <a:gd name="T34" fmla="*/ 2003 w 2061"/>
                    <a:gd name="T35" fmla="*/ 176 h 525"/>
                    <a:gd name="T36" fmla="*/ 2032 w 2061"/>
                    <a:gd name="T37" fmla="*/ 202 h 525"/>
                    <a:gd name="T38" fmla="*/ 2051 w 2061"/>
                    <a:gd name="T39" fmla="*/ 228 h 525"/>
                    <a:gd name="T40" fmla="*/ 2060 w 2061"/>
                    <a:gd name="T41" fmla="*/ 254 h 525"/>
                    <a:gd name="T42" fmla="*/ 2058 w 2061"/>
                    <a:gd name="T43" fmla="*/ 281 h 525"/>
                    <a:gd name="T44" fmla="*/ 2046 w 2061"/>
                    <a:gd name="T45" fmla="*/ 307 h 525"/>
                    <a:gd name="T46" fmla="*/ 2025 w 2061"/>
                    <a:gd name="T47" fmla="*/ 332 h 525"/>
                    <a:gd name="T48" fmla="*/ 1995 w 2061"/>
                    <a:gd name="T49" fmla="*/ 356 h 525"/>
                    <a:gd name="T50" fmla="*/ 1946 w 2061"/>
                    <a:gd name="T51" fmla="*/ 384 h 525"/>
                    <a:gd name="T52" fmla="*/ 1910 w 2061"/>
                    <a:gd name="T53" fmla="*/ 400 h 525"/>
                    <a:gd name="T54" fmla="*/ 1867 w 2061"/>
                    <a:gd name="T55" fmla="*/ 416 h 525"/>
                    <a:gd name="T56" fmla="*/ 1807 w 2061"/>
                    <a:gd name="T57" fmla="*/ 435 h 525"/>
                    <a:gd name="T58" fmla="*/ 1766 w 2061"/>
                    <a:gd name="T59" fmla="*/ 447 h 525"/>
                    <a:gd name="T60" fmla="*/ 1677 w 2061"/>
                    <a:gd name="T61" fmla="*/ 468 h 525"/>
                    <a:gd name="T62" fmla="*/ 1594 w 2061"/>
                    <a:gd name="T63" fmla="*/ 483 h 525"/>
                    <a:gd name="T64" fmla="*/ 1525 w 2061"/>
                    <a:gd name="T65" fmla="*/ 493 h 525"/>
                    <a:gd name="T66" fmla="*/ 1241 w 2061"/>
                    <a:gd name="T67" fmla="*/ 358 h 525"/>
                    <a:gd name="T68" fmla="*/ 1297 w 2061"/>
                    <a:gd name="T69" fmla="*/ 350 h 525"/>
                    <a:gd name="T70" fmla="*/ 1344 w 2061"/>
                    <a:gd name="T71" fmla="*/ 340 h 525"/>
                    <a:gd name="T72" fmla="*/ 1378 w 2061"/>
                    <a:gd name="T73" fmla="*/ 330 h 525"/>
                    <a:gd name="T74" fmla="*/ 1411 w 2061"/>
                    <a:gd name="T75" fmla="*/ 319 h 525"/>
                    <a:gd name="T76" fmla="*/ 1441 w 2061"/>
                    <a:gd name="T77" fmla="*/ 304 h 525"/>
                    <a:gd name="T78" fmla="*/ 1461 w 2061"/>
                    <a:gd name="T79" fmla="*/ 290 h 525"/>
                    <a:gd name="T80" fmla="*/ 1474 w 2061"/>
                    <a:gd name="T81" fmla="*/ 273 h 525"/>
                    <a:gd name="T82" fmla="*/ 1476 w 2061"/>
                    <a:gd name="T83" fmla="*/ 260 h 525"/>
                    <a:gd name="T84" fmla="*/ 1472 w 2061"/>
                    <a:gd name="T85" fmla="*/ 248 h 525"/>
                    <a:gd name="T86" fmla="*/ 1460 w 2061"/>
                    <a:gd name="T87" fmla="*/ 234 h 525"/>
                    <a:gd name="T88" fmla="*/ 1442 w 2061"/>
                    <a:gd name="T89" fmla="*/ 221 h 525"/>
                    <a:gd name="T90" fmla="*/ 806 w 2061"/>
                    <a:gd name="T91" fmla="*/ 167 h 525"/>
                    <a:gd name="T92" fmla="*/ 739 w 2061"/>
                    <a:gd name="T93" fmla="*/ 179 h 525"/>
                    <a:gd name="T94" fmla="*/ 703 w 2061"/>
                    <a:gd name="T95" fmla="*/ 187 h 525"/>
                    <a:gd name="T96" fmla="*/ 665 w 2061"/>
                    <a:gd name="T97" fmla="*/ 199 h 525"/>
                    <a:gd name="T98" fmla="*/ 634 w 2061"/>
                    <a:gd name="T99" fmla="*/ 211 h 525"/>
                    <a:gd name="T100" fmla="*/ 610 w 2061"/>
                    <a:gd name="T101" fmla="*/ 225 h 525"/>
                    <a:gd name="T102" fmla="*/ 593 w 2061"/>
                    <a:gd name="T103" fmla="*/ 240 h 525"/>
                    <a:gd name="T104" fmla="*/ 585 w 2061"/>
                    <a:gd name="T105" fmla="*/ 257 h 525"/>
                    <a:gd name="T106" fmla="*/ 586 w 2061"/>
                    <a:gd name="T107" fmla="*/ 270 h 525"/>
                    <a:gd name="T108" fmla="*/ 594 w 2061"/>
                    <a:gd name="T109" fmla="*/ 283 h 525"/>
                    <a:gd name="T110" fmla="*/ 606 w 2061"/>
                    <a:gd name="T111" fmla="*/ 294 h 525"/>
                    <a:gd name="T112" fmla="*/ 628 w 2061"/>
                    <a:gd name="T113" fmla="*/ 30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61" h="525">
                      <a:moveTo>
                        <a:pt x="1037" y="525"/>
                      </a:moveTo>
                      <a:cubicBezTo>
                        <a:pt x="861" y="525"/>
                        <a:pt x="686" y="513"/>
                        <a:pt x="531" y="491"/>
                      </a:cubicBezTo>
                      <a:cubicBezTo>
                        <a:pt x="528" y="491"/>
                        <a:pt x="528" y="491"/>
                        <a:pt x="528" y="491"/>
                      </a:cubicBezTo>
                      <a:cubicBezTo>
                        <a:pt x="524" y="490"/>
                        <a:pt x="520" y="490"/>
                        <a:pt x="516" y="489"/>
                      </a:cubicBezTo>
                      <a:cubicBezTo>
                        <a:pt x="419" y="475"/>
                        <a:pt x="333" y="457"/>
                        <a:pt x="260" y="436"/>
                      </a:cubicBezTo>
                      <a:cubicBezTo>
                        <a:pt x="260" y="435"/>
                        <a:pt x="259" y="435"/>
                        <a:pt x="259" y="435"/>
                      </a:cubicBezTo>
                      <a:cubicBezTo>
                        <a:pt x="206" y="420"/>
                        <a:pt x="160" y="403"/>
                        <a:pt x="122" y="384"/>
                      </a:cubicBezTo>
                      <a:cubicBezTo>
                        <a:pt x="120" y="383"/>
                        <a:pt x="120" y="383"/>
                        <a:pt x="120" y="383"/>
                      </a:cubicBezTo>
                      <a:cubicBezTo>
                        <a:pt x="119" y="383"/>
                        <a:pt x="118" y="382"/>
                        <a:pt x="117" y="382"/>
                      </a:cubicBezTo>
                      <a:cubicBezTo>
                        <a:pt x="114" y="380"/>
                        <a:pt x="110" y="379"/>
                        <a:pt x="107" y="377"/>
                      </a:cubicBezTo>
                      <a:cubicBezTo>
                        <a:pt x="103" y="375"/>
                        <a:pt x="100" y="373"/>
                        <a:pt x="97" y="371"/>
                      </a:cubicBezTo>
                      <a:cubicBezTo>
                        <a:pt x="95" y="371"/>
                        <a:pt x="94" y="370"/>
                        <a:pt x="93" y="369"/>
                      </a:cubicBezTo>
                      <a:cubicBezTo>
                        <a:pt x="92" y="368"/>
                        <a:pt x="90" y="367"/>
                        <a:pt x="88" y="366"/>
                      </a:cubicBezTo>
                      <a:cubicBezTo>
                        <a:pt x="87" y="366"/>
                        <a:pt x="87" y="366"/>
                        <a:pt x="87" y="366"/>
                      </a:cubicBezTo>
                      <a:cubicBezTo>
                        <a:pt x="85" y="365"/>
                        <a:pt x="84" y="364"/>
                        <a:pt x="83" y="364"/>
                      </a:cubicBezTo>
                      <a:cubicBezTo>
                        <a:pt x="76" y="360"/>
                        <a:pt x="76" y="360"/>
                        <a:pt x="76" y="360"/>
                      </a:cubicBezTo>
                      <a:cubicBezTo>
                        <a:pt x="76" y="359"/>
                        <a:pt x="75" y="359"/>
                        <a:pt x="75" y="359"/>
                      </a:cubicBezTo>
                      <a:cubicBezTo>
                        <a:pt x="74" y="358"/>
                        <a:pt x="74" y="358"/>
                        <a:pt x="74" y="358"/>
                      </a:cubicBezTo>
                      <a:cubicBezTo>
                        <a:pt x="71" y="356"/>
                        <a:pt x="68" y="354"/>
                        <a:pt x="66" y="352"/>
                      </a:cubicBezTo>
                      <a:cubicBezTo>
                        <a:pt x="65" y="352"/>
                        <a:pt x="64" y="352"/>
                        <a:pt x="64" y="351"/>
                      </a:cubicBezTo>
                      <a:cubicBezTo>
                        <a:pt x="62" y="350"/>
                        <a:pt x="59" y="348"/>
                        <a:pt x="57" y="347"/>
                      </a:cubicBezTo>
                      <a:cubicBezTo>
                        <a:pt x="55" y="345"/>
                        <a:pt x="55" y="345"/>
                        <a:pt x="55" y="345"/>
                      </a:cubicBezTo>
                      <a:cubicBezTo>
                        <a:pt x="53" y="344"/>
                        <a:pt x="51" y="342"/>
                        <a:pt x="50" y="341"/>
                      </a:cubicBezTo>
                      <a:cubicBezTo>
                        <a:pt x="47" y="339"/>
                        <a:pt x="47" y="339"/>
                        <a:pt x="47" y="339"/>
                      </a:cubicBezTo>
                      <a:cubicBezTo>
                        <a:pt x="45" y="337"/>
                        <a:pt x="43" y="336"/>
                        <a:pt x="41" y="334"/>
                      </a:cubicBezTo>
                      <a:cubicBezTo>
                        <a:pt x="41" y="333"/>
                        <a:pt x="41" y="333"/>
                        <a:pt x="41" y="333"/>
                      </a:cubicBezTo>
                      <a:cubicBezTo>
                        <a:pt x="38" y="331"/>
                        <a:pt x="36" y="329"/>
                        <a:pt x="34" y="328"/>
                      </a:cubicBezTo>
                      <a:cubicBezTo>
                        <a:pt x="33" y="326"/>
                        <a:pt x="33" y="326"/>
                        <a:pt x="33" y="326"/>
                      </a:cubicBezTo>
                      <a:cubicBezTo>
                        <a:pt x="31" y="325"/>
                        <a:pt x="30" y="323"/>
                        <a:pt x="29" y="322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5" y="318"/>
                        <a:pt x="24" y="317"/>
                        <a:pt x="23" y="315"/>
                      </a:cubicBezTo>
                      <a:cubicBezTo>
                        <a:pt x="22" y="314"/>
                        <a:pt x="22" y="314"/>
                        <a:pt x="22" y="314"/>
                      </a:cubicBezTo>
                      <a:cubicBezTo>
                        <a:pt x="20" y="312"/>
                        <a:pt x="19" y="310"/>
                        <a:pt x="17" y="308"/>
                      </a:cubicBezTo>
                      <a:cubicBezTo>
                        <a:pt x="16" y="307"/>
                        <a:pt x="16" y="307"/>
                        <a:pt x="16" y="307"/>
                      </a:cubicBezTo>
                      <a:cubicBezTo>
                        <a:pt x="15" y="305"/>
                        <a:pt x="14" y="304"/>
                        <a:pt x="13" y="302"/>
                      </a:cubicBezTo>
                      <a:cubicBezTo>
                        <a:pt x="13" y="302"/>
                        <a:pt x="13" y="301"/>
                        <a:pt x="12" y="301"/>
                      </a:cubicBezTo>
                      <a:cubicBezTo>
                        <a:pt x="11" y="298"/>
                        <a:pt x="11" y="298"/>
                        <a:pt x="11" y="298"/>
                      </a:cubicBezTo>
                      <a:cubicBezTo>
                        <a:pt x="10" y="298"/>
                        <a:pt x="10" y="296"/>
                        <a:pt x="10" y="296"/>
                      </a:cubicBezTo>
                      <a:cubicBezTo>
                        <a:pt x="9" y="295"/>
                        <a:pt x="9" y="295"/>
                        <a:pt x="9" y="294"/>
                      </a:cubicBezTo>
                      <a:cubicBezTo>
                        <a:pt x="8" y="293"/>
                        <a:pt x="7" y="291"/>
                        <a:pt x="6" y="289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5" y="286"/>
                        <a:pt x="4" y="284"/>
                        <a:pt x="4" y="282"/>
                      </a:cubicBezTo>
                      <a:cubicBezTo>
                        <a:pt x="3" y="281"/>
                        <a:pt x="3" y="281"/>
                        <a:pt x="3" y="281"/>
                      </a:cubicBezTo>
                      <a:cubicBezTo>
                        <a:pt x="3" y="279"/>
                        <a:pt x="2" y="278"/>
                        <a:pt x="2" y="276"/>
                      </a:cubicBezTo>
                      <a:cubicBezTo>
                        <a:pt x="1" y="274"/>
                        <a:pt x="1" y="274"/>
                        <a:pt x="1" y="274"/>
                      </a:cubicBezTo>
                      <a:cubicBezTo>
                        <a:pt x="1" y="273"/>
                        <a:pt x="1" y="271"/>
                        <a:pt x="1" y="270"/>
                      </a:cubicBezTo>
                      <a:cubicBezTo>
                        <a:pt x="1" y="268"/>
                        <a:pt x="1" y="268"/>
                        <a:pt x="1" y="268"/>
                      </a:cubicBezTo>
                      <a:cubicBezTo>
                        <a:pt x="0" y="266"/>
                        <a:pt x="0" y="265"/>
                        <a:pt x="0" y="263"/>
                      </a:cubicBezTo>
                      <a:cubicBezTo>
                        <a:pt x="0" y="263"/>
                        <a:pt x="0" y="262"/>
                        <a:pt x="0" y="262"/>
                      </a:cubicBezTo>
                      <a:cubicBezTo>
                        <a:pt x="0" y="260"/>
                        <a:pt x="0" y="258"/>
                        <a:pt x="0" y="256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0" y="253"/>
                        <a:pt x="1" y="251"/>
                        <a:pt x="1" y="250"/>
                      </a:cubicBezTo>
                      <a:cubicBezTo>
                        <a:pt x="1" y="248"/>
                        <a:pt x="1" y="248"/>
                        <a:pt x="1" y="248"/>
                      </a:cubicBezTo>
                      <a:cubicBezTo>
                        <a:pt x="1" y="246"/>
                        <a:pt x="2" y="245"/>
                        <a:pt x="2" y="244"/>
                      </a:cubicBezTo>
                      <a:cubicBezTo>
                        <a:pt x="2" y="243"/>
                        <a:pt x="2" y="243"/>
                        <a:pt x="2" y="243"/>
                      </a:cubicBezTo>
                      <a:cubicBezTo>
                        <a:pt x="2" y="243"/>
                        <a:pt x="2" y="242"/>
                        <a:pt x="3" y="242"/>
                      </a:cubicBezTo>
                      <a:cubicBezTo>
                        <a:pt x="3" y="240"/>
                        <a:pt x="3" y="239"/>
                        <a:pt x="4" y="238"/>
                      </a:cubicBezTo>
                      <a:cubicBezTo>
                        <a:pt x="4" y="237"/>
                        <a:pt x="4" y="237"/>
                        <a:pt x="4" y="237"/>
                      </a:cubicBezTo>
                      <a:cubicBezTo>
                        <a:pt x="4" y="237"/>
                        <a:pt x="4" y="236"/>
                        <a:pt x="4" y="236"/>
                      </a:cubicBezTo>
                      <a:cubicBezTo>
                        <a:pt x="5" y="236"/>
                        <a:pt x="5" y="236"/>
                        <a:pt x="5" y="236"/>
                      </a:cubicBezTo>
                      <a:cubicBezTo>
                        <a:pt x="5" y="234"/>
                        <a:pt x="6" y="232"/>
                        <a:pt x="7" y="230"/>
                      </a:cubicBezTo>
                      <a:cubicBezTo>
                        <a:pt x="7" y="229"/>
                        <a:pt x="7" y="229"/>
                        <a:pt x="7" y="229"/>
                      </a:cubicBezTo>
                      <a:cubicBezTo>
                        <a:pt x="8" y="227"/>
                        <a:pt x="9" y="226"/>
                        <a:pt x="10" y="224"/>
                      </a:cubicBezTo>
                      <a:cubicBezTo>
                        <a:pt x="10" y="223"/>
                        <a:pt x="11" y="223"/>
                        <a:pt x="11" y="222"/>
                      </a:cubicBezTo>
                      <a:cubicBezTo>
                        <a:pt x="12" y="221"/>
                        <a:pt x="13" y="219"/>
                        <a:pt x="13" y="218"/>
                      </a:cubicBezTo>
                      <a:cubicBezTo>
                        <a:pt x="14" y="218"/>
                        <a:pt x="15" y="216"/>
                        <a:pt x="15" y="216"/>
                      </a:cubicBezTo>
                      <a:cubicBezTo>
                        <a:pt x="16" y="215"/>
                        <a:pt x="17" y="213"/>
                        <a:pt x="18" y="212"/>
                      </a:cubicBezTo>
                      <a:cubicBezTo>
                        <a:pt x="18" y="211"/>
                        <a:pt x="18" y="211"/>
                        <a:pt x="19" y="210"/>
                      </a:cubicBezTo>
                      <a:cubicBezTo>
                        <a:pt x="20" y="208"/>
                        <a:pt x="22" y="206"/>
                        <a:pt x="23" y="205"/>
                      </a:cubicBezTo>
                      <a:cubicBezTo>
                        <a:pt x="24" y="204"/>
                        <a:pt x="24" y="204"/>
                        <a:pt x="24" y="204"/>
                      </a:cubicBezTo>
                      <a:cubicBezTo>
                        <a:pt x="25" y="202"/>
                        <a:pt x="27" y="200"/>
                        <a:pt x="28" y="199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30" y="197"/>
                        <a:pt x="30" y="197"/>
                        <a:pt x="30" y="197"/>
                      </a:cubicBezTo>
                      <a:cubicBezTo>
                        <a:pt x="31" y="196"/>
                        <a:pt x="33" y="194"/>
                        <a:pt x="34" y="193"/>
                      </a:cubicBezTo>
                      <a:cubicBezTo>
                        <a:pt x="35" y="192"/>
                        <a:pt x="36" y="192"/>
                        <a:pt x="36" y="191"/>
                      </a:cubicBezTo>
                      <a:cubicBezTo>
                        <a:pt x="38" y="190"/>
                        <a:pt x="39" y="188"/>
                        <a:pt x="41" y="187"/>
                      </a:cubicBezTo>
                      <a:cubicBezTo>
                        <a:pt x="41" y="187"/>
                        <a:pt x="42" y="186"/>
                        <a:pt x="42" y="186"/>
                      </a:cubicBezTo>
                      <a:cubicBezTo>
                        <a:pt x="47" y="182"/>
                        <a:pt x="51" y="178"/>
                        <a:pt x="56" y="174"/>
                      </a:cubicBezTo>
                      <a:cubicBezTo>
                        <a:pt x="57" y="174"/>
                        <a:pt x="57" y="174"/>
                        <a:pt x="57" y="174"/>
                      </a:cubicBezTo>
                      <a:cubicBezTo>
                        <a:pt x="57" y="174"/>
                        <a:pt x="58" y="173"/>
                        <a:pt x="59" y="173"/>
                      </a:cubicBezTo>
                      <a:cubicBezTo>
                        <a:pt x="60" y="172"/>
                        <a:pt x="62" y="170"/>
                        <a:pt x="64" y="169"/>
                      </a:cubicBezTo>
                      <a:cubicBezTo>
                        <a:pt x="65" y="169"/>
                        <a:pt x="65" y="168"/>
                        <a:pt x="66" y="168"/>
                      </a:cubicBezTo>
                      <a:cubicBezTo>
                        <a:pt x="67" y="167"/>
                        <a:pt x="67" y="167"/>
                        <a:pt x="67" y="167"/>
                      </a:cubicBezTo>
                      <a:cubicBezTo>
                        <a:pt x="69" y="166"/>
                        <a:pt x="70" y="165"/>
                        <a:pt x="72" y="163"/>
                      </a:cubicBezTo>
                      <a:cubicBezTo>
                        <a:pt x="75" y="162"/>
                        <a:pt x="75" y="162"/>
                        <a:pt x="75" y="162"/>
                      </a:cubicBezTo>
                      <a:cubicBezTo>
                        <a:pt x="78" y="160"/>
                        <a:pt x="80" y="159"/>
                        <a:pt x="83" y="157"/>
                      </a:cubicBezTo>
                      <a:cubicBezTo>
                        <a:pt x="84" y="156"/>
                        <a:pt x="84" y="156"/>
                        <a:pt x="84" y="156"/>
                      </a:cubicBezTo>
                      <a:cubicBezTo>
                        <a:pt x="87" y="155"/>
                        <a:pt x="90" y="153"/>
                        <a:pt x="93" y="151"/>
                      </a:cubicBezTo>
                      <a:cubicBezTo>
                        <a:pt x="94" y="151"/>
                        <a:pt x="95" y="150"/>
                        <a:pt x="96" y="150"/>
                      </a:cubicBezTo>
                      <a:cubicBezTo>
                        <a:pt x="98" y="148"/>
                        <a:pt x="100" y="147"/>
                        <a:pt x="103" y="146"/>
                      </a:cubicBezTo>
                      <a:cubicBezTo>
                        <a:pt x="103" y="146"/>
                        <a:pt x="105" y="145"/>
                        <a:pt x="106" y="144"/>
                      </a:cubicBezTo>
                      <a:cubicBezTo>
                        <a:pt x="108" y="143"/>
                        <a:pt x="108" y="143"/>
                        <a:pt x="108" y="143"/>
                      </a:cubicBezTo>
                      <a:cubicBezTo>
                        <a:pt x="109" y="142"/>
                        <a:pt x="111" y="142"/>
                        <a:pt x="113" y="141"/>
                      </a:cubicBezTo>
                      <a:cubicBezTo>
                        <a:pt x="114" y="140"/>
                        <a:pt x="115" y="139"/>
                        <a:pt x="116" y="139"/>
                      </a:cubicBezTo>
                      <a:cubicBezTo>
                        <a:pt x="119" y="138"/>
                        <a:pt x="122" y="136"/>
                        <a:pt x="125" y="135"/>
                      </a:cubicBezTo>
                      <a:cubicBezTo>
                        <a:pt x="126" y="134"/>
                        <a:pt x="126" y="134"/>
                        <a:pt x="127" y="134"/>
                      </a:cubicBezTo>
                      <a:cubicBezTo>
                        <a:pt x="130" y="133"/>
                        <a:pt x="133" y="131"/>
                        <a:pt x="136" y="130"/>
                      </a:cubicBezTo>
                      <a:cubicBezTo>
                        <a:pt x="138" y="129"/>
                        <a:pt x="138" y="129"/>
                        <a:pt x="138" y="129"/>
                      </a:cubicBezTo>
                      <a:cubicBezTo>
                        <a:pt x="139" y="129"/>
                        <a:pt x="139" y="129"/>
                        <a:pt x="139" y="129"/>
                      </a:cubicBezTo>
                      <a:cubicBezTo>
                        <a:pt x="140" y="128"/>
                        <a:pt x="140" y="128"/>
                        <a:pt x="141" y="128"/>
                      </a:cubicBezTo>
                      <a:cubicBezTo>
                        <a:pt x="144" y="126"/>
                        <a:pt x="147" y="125"/>
                        <a:pt x="150" y="124"/>
                      </a:cubicBezTo>
                      <a:cubicBezTo>
                        <a:pt x="151" y="123"/>
                        <a:pt x="152" y="123"/>
                        <a:pt x="154" y="122"/>
                      </a:cubicBezTo>
                      <a:cubicBezTo>
                        <a:pt x="157" y="121"/>
                        <a:pt x="159" y="120"/>
                        <a:pt x="162" y="119"/>
                      </a:cubicBezTo>
                      <a:cubicBezTo>
                        <a:pt x="166" y="117"/>
                        <a:pt x="166" y="117"/>
                        <a:pt x="166" y="117"/>
                      </a:cubicBezTo>
                      <a:cubicBezTo>
                        <a:pt x="169" y="116"/>
                        <a:pt x="173" y="115"/>
                        <a:pt x="176" y="114"/>
                      </a:cubicBezTo>
                      <a:cubicBezTo>
                        <a:pt x="177" y="113"/>
                        <a:pt x="178" y="113"/>
                        <a:pt x="179" y="113"/>
                      </a:cubicBezTo>
                      <a:cubicBezTo>
                        <a:pt x="183" y="111"/>
                        <a:pt x="187" y="109"/>
                        <a:pt x="192" y="108"/>
                      </a:cubicBezTo>
                      <a:cubicBezTo>
                        <a:pt x="193" y="107"/>
                        <a:pt x="194" y="107"/>
                        <a:pt x="195" y="107"/>
                      </a:cubicBezTo>
                      <a:cubicBezTo>
                        <a:pt x="198" y="106"/>
                        <a:pt x="198" y="106"/>
                        <a:pt x="198" y="106"/>
                      </a:cubicBezTo>
                      <a:cubicBezTo>
                        <a:pt x="201" y="105"/>
                        <a:pt x="203" y="104"/>
                        <a:pt x="205" y="103"/>
                      </a:cubicBezTo>
                      <a:cubicBezTo>
                        <a:pt x="210" y="102"/>
                        <a:pt x="210" y="102"/>
                        <a:pt x="210" y="102"/>
                      </a:cubicBezTo>
                      <a:cubicBezTo>
                        <a:pt x="213" y="101"/>
                        <a:pt x="216" y="100"/>
                        <a:pt x="219" y="99"/>
                      </a:cubicBezTo>
                      <a:cubicBezTo>
                        <a:pt x="221" y="98"/>
                        <a:pt x="222" y="98"/>
                        <a:pt x="224" y="97"/>
                      </a:cubicBezTo>
                      <a:cubicBezTo>
                        <a:pt x="228" y="96"/>
                        <a:pt x="231" y="95"/>
                        <a:pt x="235" y="94"/>
                      </a:cubicBezTo>
                      <a:cubicBezTo>
                        <a:pt x="239" y="93"/>
                        <a:pt x="239" y="93"/>
                        <a:pt x="239" y="93"/>
                      </a:cubicBezTo>
                      <a:cubicBezTo>
                        <a:pt x="242" y="92"/>
                        <a:pt x="242" y="92"/>
                        <a:pt x="242" y="92"/>
                      </a:cubicBezTo>
                      <a:cubicBezTo>
                        <a:pt x="246" y="91"/>
                        <a:pt x="249" y="89"/>
                        <a:pt x="253" y="88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86"/>
                        <a:pt x="262" y="86"/>
                        <a:pt x="264" y="85"/>
                      </a:cubicBezTo>
                      <a:cubicBezTo>
                        <a:pt x="269" y="84"/>
                        <a:pt x="269" y="84"/>
                        <a:pt x="269" y="84"/>
                      </a:cubicBezTo>
                      <a:cubicBezTo>
                        <a:pt x="269" y="84"/>
                        <a:pt x="273" y="83"/>
                        <a:pt x="274" y="82"/>
                      </a:cubicBezTo>
                      <a:cubicBezTo>
                        <a:pt x="277" y="82"/>
                        <a:pt x="279" y="81"/>
                        <a:pt x="281" y="81"/>
                      </a:cubicBezTo>
                      <a:cubicBezTo>
                        <a:pt x="285" y="80"/>
                        <a:pt x="285" y="80"/>
                        <a:pt x="285" y="80"/>
                      </a:cubicBezTo>
                      <a:cubicBezTo>
                        <a:pt x="291" y="78"/>
                        <a:pt x="291" y="78"/>
                        <a:pt x="291" y="78"/>
                      </a:cubicBezTo>
                      <a:cubicBezTo>
                        <a:pt x="294" y="77"/>
                        <a:pt x="298" y="76"/>
                        <a:pt x="302" y="75"/>
                      </a:cubicBezTo>
                      <a:cubicBezTo>
                        <a:pt x="307" y="74"/>
                        <a:pt x="307" y="74"/>
                        <a:pt x="307" y="74"/>
                      </a:cubicBezTo>
                      <a:cubicBezTo>
                        <a:pt x="312" y="73"/>
                        <a:pt x="318" y="71"/>
                        <a:pt x="323" y="70"/>
                      </a:cubicBezTo>
                      <a:cubicBezTo>
                        <a:pt x="327" y="69"/>
                        <a:pt x="327" y="69"/>
                        <a:pt x="327" y="69"/>
                      </a:cubicBezTo>
                      <a:cubicBezTo>
                        <a:pt x="332" y="68"/>
                        <a:pt x="336" y="67"/>
                        <a:pt x="340" y="66"/>
                      </a:cubicBezTo>
                      <a:cubicBezTo>
                        <a:pt x="358" y="62"/>
                        <a:pt x="358" y="62"/>
                        <a:pt x="358" y="62"/>
                      </a:cubicBezTo>
                      <a:cubicBezTo>
                        <a:pt x="360" y="62"/>
                        <a:pt x="362" y="61"/>
                        <a:pt x="363" y="61"/>
                      </a:cubicBezTo>
                      <a:cubicBezTo>
                        <a:pt x="383" y="57"/>
                        <a:pt x="383" y="57"/>
                        <a:pt x="383" y="57"/>
                      </a:cubicBezTo>
                      <a:cubicBezTo>
                        <a:pt x="388" y="56"/>
                        <a:pt x="395" y="55"/>
                        <a:pt x="401" y="53"/>
                      </a:cubicBezTo>
                      <a:cubicBezTo>
                        <a:pt x="402" y="53"/>
                        <a:pt x="403" y="53"/>
                        <a:pt x="405" y="53"/>
                      </a:cubicBezTo>
                      <a:cubicBezTo>
                        <a:pt x="410" y="52"/>
                        <a:pt x="414" y="51"/>
                        <a:pt x="419" y="50"/>
                      </a:cubicBezTo>
                      <a:cubicBezTo>
                        <a:pt x="426" y="49"/>
                        <a:pt x="426" y="49"/>
                        <a:pt x="426" y="49"/>
                      </a:cubicBezTo>
                      <a:cubicBezTo>
                        <a:pt x="439" y="46"/>
                        <a:pt x="439" y="46"/>
                        <a:pt x="439" y="46"/>
                      </a:cubicBezTo>
                      <a:cubicBezTo>
                        <a:pt x="441" y="46"/>
                        <a:pt x="444" y="46"/>
                        <a:pt x="446" y="45"/>
                      </a:cubicBezTo>
                      <a:cubicBezTo>
                        <a:pt x="450" y="44"/>
                        <a:pt x="455" y="44"/>
                        <a:pt x="459" y="43"/>
                      </a:cubicBezTo>
                      <a:cubicBezTo>
                        <a:pt x="466" y="42"/>
                        <a:pt x="466" y="42"/>
                        <a:pt x="466" y="42"/>
                      </a:cubicBezTo>
                      <a:cubicBezTo>
                        <a:pt x="472" y="41"/>
                        <a:pt x="479" y="40"/>
                        <a:pt x="486" y="39"/>
                      </a:cubicBezTo>
                      <a:cubicBezTo>
                        <a:pt x="489" y="38"/>
                        <a:pt x="489" y="38"/>
                        <a:pt x="489" y="38"/>
                      </a:cubicBezTo>
                      <a:cubicBezTo>
                        <a:pt x="513" y="35"/>
                        <a:pt x="513" y="35"/>
                        <a:pt x="513" y="35"/>
                      </a:cubicBezTo>
                      <a:cubicBezTo>
                        <a:pt x="535" y="31"/>
                        <a:pt x="535" y="31"/>
                        <a:pt x="535" y="31"/>
                      </a:cubicBezTo>
                      <a:cubicBezTo>
                        <a:pt x="538" y="31"/>
                        <a:pt x="549" y="30"/>
                        <a:pt x="549" y="30"/>
                      </a:cubicBezTo>
                      <a:cubicBezTo>
                        <a:pt x="551" y="29"/>
                        <a:pt x="553" y="29"/>
                        <a:pt x="555" y="29"/>
                      </a:cubicBezTo>
                      <a:cubicBezTo>
                        <a:pt x="557" y="29"/>
                        <a:pt x="557" y="29"/>
                        <a:pt x="557" y="29"/>
                      </a:cubicBezTo>
                      <a:cubicBezTo>
                        <a:pt x="563" y="28"/>
                        <a:pt x="569" y="27"/>
                        <a:pt x="576" y="26"/>
                      </a:cubicBezTo>
                      <a:cubicBezTo>
                        <a:pt x="578" y="26"/>
                        <a:pt x="578" y="26"/>
                        <a:pt x="578" y="26"/>
                      </a:cubicBezTo>
                      <a:cubicBezTo>
                        <a:pt x="718" y="9"/>
                        <a:pt x="868" y="0"/>
                        <a:pt x="1023" y="0"/>
                      </a:cubicBezTo>
                      <a:cubicBezTo>
                        <a:pt x="1214" y="0"/>
                        <a:pt x="1401" y="14"/>
                        <a:pt x="1564" y="39"/>
                      </a:cubicBezTo>
                      <a:cubicBezTo>
                        <a:pt x="1732" y="64"/>
                        <a:pt x="1867" y="102"/>
                        <a:pt x="1954" y="147"/>
                      </a:cubicBezTo>
                      <a:cubicBezTo>
                        <a:pt x="1957" y="148"/>
                        <a:pt x="1961" y="150"/>
                        <a:pt x="1964" y="152"/>
                      </a:cubicBezTo>
                      <a:cubicBezTo>
                        <a:pt x="1968" y="154"/>
                        <a:pt x="1968" y="154"/>
                        <a:pt x="1968" y="154"/>
                      </a:cubicBezTo>
                      <a:cubicBezTo>
                        <a:pt x="1970" y="155"/>
                        <a:pt x="1972" y="157"/>
                        <a:pt x="1974" y="158"/>
                      </a:cubicBezTo>
                      <a:cubicBezTo>
                        <a:pt x="1975" y="158"/>
                        <a:pt x="1976" y="159"/>
                        <a:pt x="1977" y="159"/>
                      </a:cubicBezTo>
                      <a:cubicBezTo>
                        <a:pt x="1980" y="161"/>
                        <a:pt x="1983" y="163"/>
                        <a:pt x="1985" y="165"/>
                      </a:cubicBezTo>
                      <a:cubicBezTo>
                        <a:pt x="1986" y="165"/>
                        <a:pt x="1986" y="165"/>
                        <a:pt x="1986" y="165"/>
                      </a:cubicBezTo>
                      <a:cubicBezTo>
                        <a:pt x="1989" y="167"/>
                        <a:pt x="1992" y="169"/>
                        <a:pt x="1995" y="171"/>
                      </a:cubicBezTo>
                      <a:cubicBezTo>
                        <a:pt x="1995" y="171"/>
                        <a:pt x="1996" y="172"/>
                        <a:pt x="1997" y="172"/>
                      </a:cubicBezTo>
                      <a:cubicBezTo>
                        <a:pt x="1999" y="174"/>
                        <a:pt x="2001" y="175"/>
                        <a:pt x="2003" y="176"/>
                      </a:cubicBezTo>
                      <a:cubicBezTo>
                        <a:pt x="2005" y="178"/>
                        <a:pt x="2005" y="178"/>
                        <a:pt x="2005" y="178"/>
                      </a:cubicBezTo>
                      <a:cubicBezTo>
                        <a:pt x="2007" y="180"/>
                        <a:pt x="2009" y="181"/>
                        <a:pt x="2012" y="183"/>
                      </a:cubicBezTo>
                      <a:cubicBezTo>
                        <a:pt x="2012" y="183"/>
                        <a:pt x="2012" y="183"/>
                        <a:pt x="2012" y="184"/>
                      </a:cubicBezTo>
                      <a:cubicBezTo>
                        <a:pt x="2015" y="186"/>
                        <a:pt x="2017" y="188"/>
                        <a:pt x="2019" y="189"/>
                      </a:cubicBezTo>
                      <a:cubicBezTo>
                        <a:pt x="2020" y="190"/>
                        <a:pt x="2020" y="190"/>
                        <a:pt x="2021" y="191"/>
                      </a:cubicBezTo>
                      <a:cubicBezTo>
                        <a:pt x="2021" y="191"/>
                        <a:pt x="2021" y="191"/>
                        <a:pt x="2021" y="191"/>
                      </a:cubicBezTo>
                      <a:cubicBezTo>
                        <a:pt x="2023" y="192"/>
                        <a:pt x="2024" y="194"/>
                        <a:pt x="2026" y="195"/>
                      </a:cubicBezTo>
                      <a:cubicBezTo>
                        <a:pt x="2028" y="197"/>
                        <a:pt x="2028" y="197"/>
                        <a:pt x="2028" y="197"/>
                      </a:cubicBezTo>
                      <a:cubicBezTo>
                        <a:pt x="2029" y="199"/>
                        <a:pt x="2031" y="200"/>
                        <a:pt x="2032" y="202"/>
                      </a:cubicBezTo>
                      <a:cubicBezTo>
                        <a:pt x="2033" y="203"/>
                        <a:pt x="2033" y="203"/>
                        <a:pt x="2033" y="203"/>
                      </a:cubicBezTo>
                      <a:cubicBezTo>
                        <a:pt x="2035" y="205"/>
                        <a:pt x="2037" y="207"/>
                        <a:pt x="2038" y="209"/>
                      </a:cubicBezTo>
                      <a:cubicBezTo>
                        <a:pt x="2039" y="210"/>
                        <a:pt x="2039" y="210"/>
                        <a:pt x="2039" y="210"/>
                      </a:cubicBezTo>
                      <a:cubicBezTo>
                        <a:pt x="2041" y="212"/>
                        <a:pt x="2042" y="213"/>
                        <a:pt x="2043" y="214"/>
                      </a:cubicBezTo>
                      <a:cubicBezTo>
                        <a:pt x="2043" y="215"/>
                        <a:pt x="2043" y="215"/>
                        <a:pt x="2044" y="216"/>
                      </a:cubicBezTo>
                      <a:cubicBezTo>
                        <a:pt x="2044" y="216"/>
                        <a:pt x="2044" y="216"/>
                        <a:pt x="2044" y="216"/>
                      </a:cubicBezTo>
                      <a:cubicBezTo>
                        <a:pt x="2045" y="218"/>
                        <a:pt x="2046" y="219"/>
                        <a:pt x="2047" y="221"/>
                      </a:cubicBezTo>
                      <a:cubicBezTo>
                        <a:pt x="2048" y="221"/>
                        <a:pt x="2048" y="222"/>
                        <a:pt x="2048" y="222"/>
                      </a:cubicBezTo>
                      <a:cubicBezTo>
                        <a:pt x="2049" y="224"/>
                        <a:pt x="2050" y="226"/>
                        <a:pt x="2051" y="228"/>
                      </a:cubicBezTo>
                      <a:cubicBezTo>
                        <a:pt x="2052" y="230"/>
                        <a:pt x="2052" y="230"/>
                        <a:pt x="2052" y="230"/>
                      </a:cubicBezTo>
                      <a:cubicBezTo>
                        <a:pt x="2053" y="231"/>
                        <a:pt x="2054" y="232"/>
                        <a:pt x="2054" y="234"/>
                      </a:cubicBezTo>
                      <a:cubicBezTo>
                        <a:pt x="2055" y="235"/>
                        <a:pt x="2055" y="235"/>
                        <a:pt x="2055" y="236"/>
                      </a:cubicBezTo>
                      <a:cubicBezTo>
                        <a:pt x="2056" y="237"/>
                        <a:pt x="2056" y="239"/>
                        <a:pt x="2057" y="240"/>
                      </a:cubicBezTo>
                      <a:cubicBezTo>
                        <a:pt x="2057" y="241"/>
                        <a:pt x="2057" y="241"/>
                        <a:pt x="2057" y="241"/>
                      </a:cubicBezTo>
                      <a:cubicBezTo>
                        <a:pt x="2057" y="242"/>
                        <a:pt x="2057" y="242"/>
                        <a:pt x="2057" y="242"/>
                      </a:cubicBezTo>
                      <a:cubicBezTo>
                        <a:pt x="2058" y="244"/>
                        <a:pt x="2058" y="246"/>
                        <a:pt x="2059" y="248"/>
                      </a:cubicBezTo>
                      <a:cubicBezTo>
                        <a:pt x="2059" y="248"/>
                        <a:pt x="2059" y="249"/>
                        <a:pt x="2059" y="249"/>
                      </a:cubicBezTo>
                      <a:cubicBezTo>
                        <a:pt x="2059" y="251"/>
                        <a:pt x="2060" y="252"/>
                        <a:pt x="2060" y="254"/>
                      </a:cubicBezTo>
                      <a:cubicBezTo>
                        <a:pt x="2060" y="256"/>
                        <a:pt x="2060" y="256"/>
                        <a:pt x="2060" y="256"/>
                      </a:cubicBezTo>
                      <a:cubicBezTo>
                        <a:pt x="2060" y="257"/>
                        <a:pt x="2060" y="259"/>
                        <a:pt x="2060" y="260"/>
                      </a:cubicBezTo>
                      <a:cubicBezTo>
                        <a:pt x="2060" y="261"/>
                        <a:pt x="2061" y="261"/>
                        <a:pt x="2061" y="262"/>
                      </a:cubicBezTo>
                      <a:cubicBezTo>
                        <a:pt x="2061" y="264"/>
                        <a:pt x="2061" y="266"/>
                        <a:pt x="2060" y="267"/>
                      </a:cubicBezTo>
                      <a:cubicBezTo>
                        <a:pt x="2060" y="269"/>
                        <a:pt x="2060" y="269"/>
                        <a:pt x="2060" y="269"/>
                      </a:cubicBezTo>
                      <a:cubicBezTo>
                        <a:pt x="2060" y="270"/>
                        <a:pt x="2060" y="272"/>
                        <a:pt x="2060" y="273"/>
                      </a:cubicBezTo>
                      <a:cubicBezTo>
                        <a:pt x="2060" y="274"/>
                        <a:pt x="2059" y="275"/>
                        <a:pt x="2059" y="275"/>
                      </a:cubicBezTo>
                      <a:cubicBezTo>
                        <a:pt x="2059" y="277"/>
                        <a:pt x="2059" y="278"/>
                        <a:pt x="2058" y="280"/>
                      </a:cubicBezTo>
                      <a:cubicBezTo>
                        <a:pt x="2058" y="280"/>
                        <a:pt x="2058" y="281"/>
                        <a:pt x="2058" y="281"/>
                      </a:cubicBezTo>
                      <a:cubicBezTo>
                        <a:pt x="2058" y="283"/>
                        <a:pt x="2057" y="285"/>
                        <a:pt x="2056" y="287"/>
                      </a:cubicBezTo>
                      <a:cubicBezTo>
                        <a:pt x="2056" y="287"/>
                        <a:pt x="2056" y="288"/>
                        <a:pt x="2056" y="288"/>
                      </a:cubicBezTo>
                      <a:cubicBezTo>
                        <a:pt x="2055" y="290"/>
                        <a:pt x="2055" y="291"/>
                        <a:pt x="2054" y="293"/>
                      </a:cubicBezTo>
                      <a:cubicBezTo>
                        <a:pt x="2053" y="295"/>
                        <a:pt x="2053" y="295"/>
                        <a:pt x="2053" y="295"/>
                      </a:cubicBezTo>
                      <a:cubicBezTo>
                        <a:pt x="2052" y="296"/>
                        <a:pt x="2052" y="298"/>
                        <a:pt x="2051" y="299"/>
                      </a:cubicBezTo>
                      <a:cubicBezTo>
                        <a:pt x="2051" y="300"/>
                        <a:pt x="2050" y="300"/>
                        <a:pt x="2050" y="300"/>
                      </a:cubicBezTo>
                      <a:cubicBezTo>
                        <a:pt x="2050" y="301"/>
                        <a:pt x="2050" y="301"/>
                        <a:pt x="2050" y="301"/>
                      </a:cubicBezTo>
                      <a:cubicBezTo>
                        <a:pt x="2049" y="303"/>
                        <a:pt x="2048" y="304"/>
                        <a:pt x="2047" y="306"/>
                      </a:cubicBezTo>
                      <a:cubicBezTo>
                        <a:pt x="2046" y="307"/>
                        <a:pt x="2046" y="307"/>
                        <a:pt x="2046" y="307"/>
                      </a:cubicBezTo>
                      <a:cubicBezTo>
                        <a:pt x="2045" y="309"/>
                        <a:pt x="2044" y="311"/>
                        <a:pt x="2042" y="312"/>
                      </a:cubicBezTo>
                      <a:cubicBezTo>
                        <a:pt x="2042" y="313"/>
                        <a:pt x="2042" y="313"/>
                        <a:pt x="2042" y="313"/>
                      </a:cubicBezTo>
                      <a:cubicBezTo>
                        <a:pt x="2041" y="315"/>
                        <a:pt x="2039" y="317"/>
                        <a:pt x="2038" y="318"/>
                      </a:cubicBezTo>
                      <a:cubicBezTo>
                        <a:pt x="2037" y="319"/>
                        <a:pt x="2037" y="319"/>
                        <a:pt x="2037" y="319"/>
                      </a:cubicBezTo>
                      <a:cubicBezTo>
                        <a:pt x="2035" y="321"/>
                        <a:pt x="2034" y="323"/>
                        <a:pt x="2032" y="325"/>
                      </a:cubicBezTo>
                      <a:cubicBezTo>
                        <a:pt x="2032" y="325"/>
                        <a:pt x="2032" y="325"/>
                        <a:pt x="2032" y="325"/>
                      </a:cubicBezTo>
                      <a:cubicBezTo>
                        <a:pt x="2031" y="326"/>
                        <a:pt x="2031" y="326"/>
                        <a:pt x="2031" y="326"/>
                      </a:cubicBezTo>
                      <a:cubicBezTo>
                        <a:pt x="2029" y="327"/>
                        <a:pt x="2028" y="329"/>
                        <a:pt x="2026" y="331"/>
                      </a:cubicBezTo>
                      <a:cubicBezTo>
                        <a:pt x="2026" y="331"/>
                        <a:pt x="2025" y="331"/>
                        <a:pt x="2025" y="332"/>
                      </a:cubicBezTo>
                      <a:cubicBezTo>
                        <a:pt x="2023" y="333"/>
                        <a:pt x="2021" y="335"/>
                        <a:pt x="2019" y="337"/>
                      </a:cubicBezTo>
                      <a:cubicBezTo>
                        <a:pt x="2018" y="338"/>
                        <a:pt x="2018" y="338"/>
                        <a:pt x="2018" y="338"/>
                      </a:cubicBezTo>
                      <a:cubicBezTo>
                        <a:pt x="2016" y="340"/>
                        <a:pt x="2014" y="341"/>
                        <a:pt x="2012" y="343"/>
                      </a:cubicBezTo>
                      <a:cubicBezTo>
                        <a:pt x="2009" y="341"/>
                        <a:pt x="2009" y="341"/>
                        <a:pt x="2009" y="341"/>
                      </a:cubicBezTo>
                      <a:cubicBezTo>
                        <a:pt x="2012" y="343"/>
                        <a:pt x="2012" y="343"/>
                        <a:pt x="2012" y="343"/>
                      </a:cubicBezTo>
                      <a:cubicBezTo>
                        <a:pt x="2009" y="345"/>
                        <a:pt x="2007" y="347"/>
                        <a:pt x="2004" y="349"/>
                      </a:cubicBezTo>
                      <a:cubicBezTo>
                        <a:pt x="2003" y="350"/>
                        <a:pt x="2003" y="350"/>
                        <a:pt x="2003" y="350"/>
                      </a:cubicBezTo>
                      <a:cubicBezTo>
                        <a:pt x="2001" y="352"/>
                        <a:pt x="1998" y="353"/>
                        <a:pt x="1996" y="355"/>
                      </a:cubicBezTo>
                      <a:cubicBezTo>
                        <a:pt x="1995" y="356"/>
                        <a:pt x="1995" y="356"/>
                        <a:pt x="1995" y="356"/>
                      </a:cubicBezTo>
                      <a:cubicBezTo>
                        <a:pt x="1992" y="357"/>
                        <a:pt x="1990" y="359"/>
                        <a:pt x="1987" y="360"/>
                      </a:cubicBezTo>
                      <a:cubicBezTo>
                        <a:pt x="1986" y="361"/>
                        <a:pt x="1986" y="361"/>
                        <a:pt x="1986" y="361"/>
                      </a:cubicBezTo>
                      <a:cubicBezTo>
                        <a:pt x="1984" y="363"/>
                        <a:pt x="1981" y="364"/>
                        <a:pt x="1979" y="366"/>
                      </a:cubicBezTo>
                      <a:cubicBezTo>
                        <a:pt x="1976" y="367"/>
                        <a:pt x="1976" y="367"/>
                        <a:pt x="1976" y="367"/>
                      </a:cubicBezTo>
                      <a:cubicBezTo>
                        <a:pt x="1973" y="369"/>
                        <a:pt x="1970" y="371"/>
                        <a:pt x="1967" y="372"/>
                      </a:cubicBezTo>
                      <a:cubicBezTo>
                        <a:pt x="1964" y="374"/>
                        <a:pt x="1961" y="376"/>
                        <a:pt x="1958" y="378"/>
                      </a:cubicBezTo>
                      <a:cubicBezTo>
                        <a:pt x="1956" y="379"/>
                        <a:pt x="1956" y="379"/>
                        <a:pt x="1956" y="379"/>
                      </a:cubicBezTo>
                      <a:cubicBezTo>
                        <a:pt x="1953" y="380"/>
                        <a:pt x="1953" y="380"/>
                        <a:pt x="1953" y="380"/>
                      </a:cubicBezTo>
                      <a:cubicBezTo>
                        <a:pt x="1951" y="381"/>
                        <a:pt x="1948" y="382"/>
                        <a:pt x="1946" y="384"/>
                      </a:cubicBezTo>
                      <a:cubicBezTo>
                        <a:pt x="1945" y="384"/>
                        <a:pt x="1945" y="384"/>
                        <a:pt x="1944" y="384"/>
                      </a:cubicBezTo>
                      <a:cubicBezTo>
                        <a:pt x="1943" y="385"/>
                        <a:pt x="1942" y="385"/>
                        <a:pt x="1941" y="386"/>
                      </a:cubicBezTo>
                      <a:cubicBezTo>
                        <a:pt x="1940" y="386"/>
                        <a:pt x="1940" y="386"/>
                        <a:pt x="1939" y="387"/>
                      </a:cubicBezTo>
                      <a:cubicBezTo>
                        <a:pt x="1937" y="388"/>
                        <a:pt x="1937" y="388"/>
                        <a:pt x="1937" y="388"/>
                      </a:cubicBezTo>
                      <a:cubicBezTo>
                        <a:pt x="1936" y="388"/>
                        <a:pt x="1936" y="388"/>
                        <a:pt x="1935" y="389"/>
                      </a:cubicBezTo>
                      <a:cubicBezTo>
                        <a:pt x="1933" y="389"/>
                        <a:pt x="1933" y="389"/>
                        <a:pt x="1933" y="389"/>
                      </a:cubicBezTo>
                      <a:cubicBezTo>
                        <a:pt x="1930" y="391"/>
                        <a:pt x="1926" y="393"/>
                        <a:pt x="1923" y="394"/>
                      </a:cubicBezTo>
                      <a:cubicBezTo>
                        <a:pt x="1920" y="395"/>
                        <a:pt x="1920" y="395"/>
                        <a:pt x="1920" y="395"/>
                      </a:cubicBezTo>
                      <a:cubicBezTo>
                        <a:pt x="1917" y="397"/>
                        <a:pt x="1913" y="398"/>
                        <a:pt x="1910" y="400"/>
                      </a:cubicBezTo>
                      <a:cubicBezTo>
                        <a:pt x="1909" y="400"/>
                        <a:pt x="1909" y="400"/>
                        <a:pt x="1909" y="400"/>
                      </a:cubicBezTo>
                      <a:cubicBezTo>
                        <a:pt x="1908" y="400"/>
                        <a:pt x="1908" y="400"/>
                        <a:pt x="1908" y="400"/>
                      </a:cubicBezTo>
                      <a:cubicBezTo>
                        <a:pt x="1905" y="402"/>
                        <a:pt x="1902" y="403"/>
                        <a:pt x="1899" y="404"/>
                      </a:cubicBezTo>
                      <a:cubicBezTo>
                        <a:pt x="1895" y="406"/>
                        <a:pt x="1895" y="406"/>
                        <a:pt x="1895" y="406"/>
                      </a:cubicBezTo>
                      <a:cubicBezTo>
                        <a:pt x="1891" y="407"/>
                        <a:pt x="1887" y="409"/>
                        <a:pt x="1883" y="410"/>
                      </a:cubicBezTo>
                      <a:cubicBezTo>
                        <a:pt x="1882" y="411"/>
                        <a:pt x="1882" y="411"/>
                        <a:pt x="1881" y="411"/>
                      </a:cubicBezTo>
                      <a:cubicBezTo>
                        <a:pt x="1877" y="412"/>
                        <a:pt x="1873" y="414"/>
                        <a:pt x="1869" y="415"/>
                      </a:cubicBezTo>
                      <a:cubicBezTo>
                        <a:pt x="1869" y="415"/>
                        <a:pt x="1869" y="415"/>
                        <a:pt x="1869" y="415"/>
                      </a:cubicBezTo>
                      <a:cubicBezTo>
                        <a:pt x="1869" y="416"/>
                        <a:pt x="1868" y="416"/>
                        <a:pt x="1867" y="416"/>
                      </a:cubicBezTo>
                      <a:cubicBezTo>
                        <a:pt x="1863" y="417"/>
                        <a:pt x="1859" y="419"/>
                        <a:pt x="1855" y="420"/>
                      </a:cubicBezTo>
                      <a:cubicBezTo>
                        <a:pt x="1854" y="420"/>
                        <a:pt x="1854" y="420"/>
                        <a:pt x="1854" y="420"/>
                      </a:cubicBezTo>
                      <a:cubicBezTo>
                        <a:pt x="1853" y="421"/>
                        <a:pt x="1853" y="421"/>
                        <a:pt x="1852" y="421"/>
                      </a:cubicBezTo>
                      <a:cubicBezTo>
                        <a:pt x="1847" y="423"/>
                        <a:pt x="1843" y="424"/>
                        <a:pt x="1838" y="426"/>
                      </a:cubicBezTo>
                      <a:cubicBezTo>
                        <a:pt x="1838" y="426"/>
                        <a:pt x="1838" y="426"/>
                        <a:pt x="1837" y="426"/>
                      </a:cubicBezTo>
                      <a:cubicBezTo>
                        <a:pt x="1835" y="427"/>
                        <a:pt x="1832" y="428"/>
                        <a:pt x="1829" y="429"/>
                      </a:cubicBezTo>
                      <a:cubicBezTo>
                        <a:pt x="1824" y="430"/>
                        <a:pt x="1824" y="430"/>
                        <a:pt x="1824" y="430"/>
                      </a:cubicBezTo>
                      <a:cubicBezTo>
                        <a:pt x="1824" y="430"/>
                        <a:pt x="1816" y="432"/>
                        <a:pt x="1815" y="433"/>
                      </a:cubicBezTo>
                      <a:cubicBezTo>
                        <a:pt x="1807" y="435"/>
                        <a:pt x="1807" y="435"/>
                        <a:pt x="1807" y="435"/>
                      </a:cubicBezTo>
                      <a:cubicBezTo>
                        <a:pt x="1806" y="435"/>
                        <a:pt x="1806" y="436"/>
                        <a:pt x="1805" y="436"/>
                      </a:cubicBezTo>
                      <a:cubicBezTo>
                        <a:pt x="1801" y="437"/>
                        <a:pt x="1801" y="437"/>
                        <a:pt x="1801" y="437"/>
                      </a:cubicBezTo>
                      <a:cubicBezTo>
                        <a:pt x="1802" y="437"/>
                        <a:pt x="1802" y="437"/>
                        <a:pt x="1802" y="437"/>
                      </a:cubicBezTo>
                      <a:cubicBezTo>
                        <a:pt x="1801" y="438"/>
                        <a:pt x="1801" y="438"/>
                        <a:pt x="1801" y="438"/>
                      </a:cubicBezTo>
                      <a:cubicBezTo>
                        <a:pt x="1795" y="440"/>
                        <a:pt x="1795" y="440"/>
                        <a:pt x="1795" y="440"/>
                      </a:cubicBezTo>
                      <a:cubicBezTo>
                        <a:pt x="1792" y="440"/>
                        <a:pt x="1789" y="441"/>
                        <a:pt x="1786" y="442"/>
                      </a:cubicBezTo>
                      <a:cubicBezTo>
                        <a:pt x="1785" y="442"/>
                        <a:pt x="1785" y="442"/>
                        <a:pt x="1785" y="442"/>
                      </a:cubicBezTo>
                      <a:cubicBezTo>
                        <a:pt x="1780" y="444"/>
                        <a:pt x="1775" y="445"/>
                        <a:pt x="1770" y="446"/>
                      </a:cubicBezTo>
                      <a:cubicBezTo>
                        <a:pt x="1770" y="446"/>
                        <a:pt x="1767" y="447"/>
                        <a:pt x="1766" y="447"/>
                      </a:cubicBezTo>
                      <a:cubicBezTo>
                        <a:pt x="1761" y="449"/>
                        <a:pt x="1756" y="450"/>
                        <a:pt x="1751" y="451"/>
                      </a:cubicBezTo>
                      <a:cubicBezTo>
                        <a:pt x="1750" y="451"/>
                        <a:pt x="1750" y="451"/>
                        <a:pt x="1749" y="452"/>
                      </a:cubicBezTo>
                      <a:cubicBezTo>
                        <a:pt x="1744" y="453"/>
                        <a:pt x="1739" y="454"/>
                        <a:pt x="1734" y="455"/>
                      </a:cubicBezTo>
                      <a:cubicBezTo>
                        <a:pt x="1733" y="455"/>
                        <a:pt x="1732" y="456"/>
                        <a:pt x="1731" y="456"/>
                      </a:cubicBezTo>
                      <a:cubicBezTo>
                        <a:pt x="1726" y="457"/>
                        <a:pt x="1721" y="458"/>
                        <a:pt x="1715" y="460"/>
                      </a:cubicBezTo>
                      <a:cubicBezTo>
                        <a:pt x="1712" y="460"/>
                        <a:pt x="1712" y="460"/>
                        <a:pt x="1712" y="460"/>
                      </a:cubicBezTo>
                      <a:cubicBezTo>
                        <a:pt x="1707" y="462"/>
                        <a:pt x="1701" y="463"/>
                        <a:pt x="1696" y="464"/>
                      </a:cubicBezTo>
                      <a:cubicBezTo>
                        <a:pt x="1696" y="464"/>
                        <a:pt x="1695" y="464"/>
                        <a:pt x="1695" y="464"/>
                      </a:cubicBezTo>
                      <a:cubicBezTo>
                        <a:pt x="1689" y="465"/>
                        <a:pt x="1683" y="467"/>
                        <a:pt x="1677" y="468"/>
                      </a:cubicBezTo>
                      <a:cubicBezTo>
                        <a:pt x="1674" y="469"/>
                        <a:pt x="1674" y="469"/>
                        <a:pt x="1674" y="469"/>
                      </a:cubicBezTo>
                      <a:cubicBezTo>
                        <a:pt x="1668" y="470"/>
                        <a:pt x="1662" y="471"/>
                        <a:pt x="1656" y="472"/>
                      </a:cubicBezTo>
                      <a:cubicBezTo>
                        <a:pt x="1654" y="472"/>
                        <a:pt x="1654" y="472"/>
                        <a:pt x="1654" y="472"/>
                      </a:cubicBezTo>
                      <a:cubicBezTo>
                        <a:pt x="1648" y="473"/>
                        <a:pt x="1643" y="474"/>
                        <a:pt x="1637" y="476"/>
                      </a:cubicBezTo>
                      <a:cubicBezTo>
                        <a:pt x="1634" y="476"/>
                        <a:pt x="1634" y="476"/>
                        <a:pt x="1634" y="476"/>
                      </a:cubicBezTo>
                      <a:cubicBezTo>
                        <a:pt x="1628" y="477"/>
                        <a:pt x="1622" y="478"/>
                        <a:pt x="1616" y="479"/>
                      </a:cubicBezTo>
                      <a:cubicBezTo>
                        <a:pt x="1615" y="480"/>
                        <a:pt x="1613" y="480"/>
                        <a:pt x="1612" y="480"/>
                      </a:cubicBezTo>
                      <a:cubicBezTo>
                        <a:pt x="1605" y="481"/>
                        <a:pt x="1605" y="481"/>
                        <a:pt x="1605" y="481"/>
                      </a:cubicBezTo>
                      <a:cubicBezTo>
                        <a:pt x="1601" y="482"/>
                        <a:pt x="1598" y="482"/>
                        <a:pt x="1594" y="483"/>
                      </a:cubicBezTo>
                      <a:cubicBezTo>
                        <a:pt x="1593" y="483"/>
                        <a:pt x="1593" y="483"/>
                        <a:pt x="1593" y="483"/>
                      </a:cubicBezTo>
                      <a:cubicBezTo>
                        <a:pt x="1587" y="484"/>
                        <a:pt x="1580" y="485"/>
                        <a:pt x="1574" y="486"/>
                      </a:cubicBezTo>
                      <a:cubicBezTo>
                        <a:pt x="1569" y="487"/>
                        <a:pt x="1569" y="487"/>
                        <a:pt x="1569" y="487"/>
                      </a:cubicBezTo>
                      <a:cubicBezTo>
                        <a:pt x="1563" y="488"/>
                        <a:pt x="1557" y="489"/>
                        <a:pt x="1550" y="490"/>
                      </a:cubicBezTo>
                      <a:cubicBezTo>
                        <a:pt x="1544" y="491"/>
                        <a:pt x="1544" y="491"/>
                        <a:pt x="1544" y="491"/>
                      </a:cubicBezTo>
                      <a:cubicBezTo>
                        <a:pt x="1530" y="493"/>
                        <a:pt x="1530" y="493"/>
                        <a:pt x="1530" y="493"/>
                      </a:cubicBezTo>
                      <a:cubicBezTo>
                        <a:pt x="1528" y="493"/>
                        <a:pt x="1528" y="493"/>
                        <a:pt x="1528" y="493"/>
                      </a:cubicBezTo>
                      <a:cubicBezTo>
                        <a:pt x="1528" y="493"/>
                        <a:pt x="1527" y="493"/>
                        <a:pt x="1526" y="493"/>
                      </a:cubicBezTo>
                      <a:cubicBezTo>
                        <a:pt x="1525" y="493"/>
                        <a:pt x="1525" y="493"/>
                        <a:pt x="1525" y="493"/>
                      </a:cubicBezTo>
                      <a:cubicBezTo>
                        <a:pt x="1520" y="494"/>
                        <a:pt x="1515" y="495"/>
                        <a:pt x="1510" y="495"/>
                      </a:cubicBezTo>
                      <a:cubicBezTo>
                        <a:pt x="1505" y="496"/>
                        <a:pt x="1505" y="496"/>
                        <a:pt x="1505" y="496"/>
                      </a:cubicBezTo>
                      <a:cubicBezTo>
                        <a:pt x="1504" y="496"/>
                        <a:pt x="1502" y="496"/>
                        <a:pt x="1501" y="497"/>
                      </a:cubicBezTo>
                      <a:cubicBezTo>
                        <a:pt x="1494" y="498"/>
                        <a:pt x="1487" y="498"/>
                        <a:pt x="1480" y="499"/>
                      </a:cubicBezTo>
                      <a:cubicBezTo>
                        <a:pt x="1340" y="516"/>
                        <a:pt x="1192" y="525"/>
                        <a:pt x="1037" y="525"/>
                      </a:cubicBezTo>
                      <a:close/>
                      <a:moveTo>
                        <a:pt x="689" y="331"/>
                      </a:moveTo>
                      <a:cubicBezTo>
                        <a:pt x="775" y="357"/>
                        <a:pt x="900" y="371"/>
                        <a:pt x="1033" y="371"/>
                      </a:cubicBezTo>
                      <a:cubicBezTo>
                        <a:pt x="1101" y="371"/>
                        <a:pt x="1166" y="367"/>
                        <a:pt x="1228" y="360"/>
                      </a:cubicBezTo>
                      <a:cubicBezTo>
                        <a:pt x="1232" y="359"/>
                        <a:pt x="1236" y="359"/>
                        <a:pt x="1241" y="358"/>
                      </a:cubicBezTo>
                      <a:cubicBezTo>
                        <a:pt x="1244" y="358"/>
                        <a:pt x="1244" y="358"/>
                        <a:pt x="1244" y="358"/>
                      </a:cubicBezTo>
                      <a:cubicBezTo>
                        <a:pt x="1248" y="357"/>
                        <a:pt x="1251" y="357"/>
                        <a:pt x="1255" y="356"/>
                      </a:cubicBezTo>
                      <a:cubicBezTo>
                        <a:pt x="1257" y="356"/>
                        <a:pt x="1257" y="356"/>
                        <a:pt x="1257" y="356"/>
                      </a:cubicBezTo>
                      <a:cubicBezTo>
                        <a:pt x="1261" y="355"/>
                        <a:pt x="1265" y="355"/>
                        <a:pt x="1269" y="354"/>
                      </a:cubicBezTo>
                      <a:cubicBezTo>
                        <a:pt x="1273" y="354"/>
                        <a:pt x="1273" y="354"/>
                        <a:pt x="1273" y="354"/>
                      </a:cubicBezTo>
                      <a:cubicBezTo>
                        <a:pt x="1276" y="353"/>
                        <a:pt x="1279" y="353"/>
                        <a:pt x="1282" y="352"/>
                      </a:cubicBezTo>
                      <a:cubicBezTo>
                        <a:pt x="1285" y="352"/>
                        <a:pt x="1285" y="352"/>
                        <a:pt x="1285" y="352"/>
                      </a:cubicBezTo>
                      <a:cubicBezTo>
                        <a:pt x="1289" y="351"/>
                        <a:pt x="1289" y="351"/>
                        <a:pt x="1289" y="351"/>
                      </a:cubicBezTo>
                      <a:cubicBezTo>
                        <a:pt x="1292" y="350"/>
                        <a:pt x="1294" y="350"/>
                        <a:pt x="1297" y="350"/>
                      </a:cubicBezTo>
                      <a:cubicBezTo>
                        <a:pt x="1297" y="349"/>
                        <a:pt x="1298" y="349"/>
                        <a:pt x="1299" y="349"/>
                      </a:cubicBezTo>
                      <a:cubicBezTo>
                        <a:pt x="1302" y="349"/>
                        <a:pt x="1305" y="348"/>
                        <a:pt x="1308" y="347"/>
                      </a:cubicBezTo>
                      <a:cubicBezTo>
                        <a:pt x="1309" y="347"/>
                        <a:pt x="1310" y="347"/>
                        <a:pt x="1311" y="347"/>
                      </a:cubicBezTo>
                      <a:cubicBezTo>
                        <a:pt x="1315" y="346"/>
                        <a:pt x="1318" y="345"/>
                        <a:pt x="1322" y="345"/>
                      </a:cubicBezTo>
                      <a:cubicBezTo>
                        <a:pt x="1322" y="345"/>
                        <a:pt x="1322" y="345"/>
                        <a:pt x="1322" y="345"/>
                      </a:cubicBezTo>
                      <a:cubicBezTo>
                        <a:pt x="1326" y="344"/>
                        <a:pt x="1329" y="343"/>
                        <a:pt x="1332" y="342"/>
                      </a:cubicBezTo>
                      <a:cubicBezTo>
                        <a:pt x="1333" y="342"/>
                        <a:pt x="1333" y="342"/>
                        <a:pt x="1333" y="342"/>
                      </a:cubicBezTo>
                      <a:cubicBezTo>
                        <a:pt x="1334" y="342"/>
                        <a:pt x="1334" y="342"/>
                        <a:pt x="1335" y="342"/>
                      </a:cubicBezTo>
                      <a:cubicBezTo>
                        <a:pt x="1338" y="341"/>
                        <a:pt x="1341" y="340"/>
                        <a:pt x="1344" y="340"/>
                      </a:cubicBezTo>
                      <a:cubicBezTo>
                        <a:pt x="1344" y="339"/>
                        <a:pt x="1345" y="339"/>
                        <a:pt x="1345" y="339"/>
                      </a:cubicBezTo>
                      <a:cubicBezTo>
                        <a:pt x="1349" y="338"/>
                        <a:pt x="1352" y="337"/>
                        <a:pt x="1355" y="337"/>
                      </a:cubicBezTo>
                      <a:cubicBezTo>
                        <a:pt x="1359" y="336"/>
                        <a:pt x="1359" y="336"/>
                        <a:pt x="1359" y="336"/>
                      </a:cubicBezTo>
                      <a:cubicBezTo>
                        <a:pt x="1361" y="335"/>
                        <a:pt x="1363" y="335"/>
                        <a:pt x="1365" y="334"/>
                      </a:cubicBezTo>
                      <a:cubicBezTo>
                        <a:pt x="1367" y="333"/>
                        <a:pt x="1367" y="333"/>
                        <a:pt x="1367" y="333"/>
                      </a:cubicBezTo>
                      <a:cubicBezTo>
                        <a:pt x="1368" y="333"/>
                        <a:pt x="1373" y="332"/>
                        <a:pt x="1373" y="332"/>
                      </a:cubicBezTo>
                      <a:cubicBezTo>
                        <a:pt x="1373" y="332"/>
                        <a:pt x="1373" y="332"/>
                        <a:pt x="1373" y="332"/>
                      </a:cubicBezTo>
                      <a:cubicBezTo>
                        <a:pt x="1374" y="331"/>
                        <a:pt x="1375" y="331"/>
                        <a:pt x="1376" y="331"/>
                      </a:cubicBezTo>
                      <a:cubicBezTo>
                        <a:pt x="1377" y="331"/>
                        <a:pt x="1377" y="330"/>
                        <a:pt x="1378" y="330"/>
                      </a:cubicBezTo>
                      <a:cubicBezTo>
                        <a:pt x="1380" y="330"/>
                        <a:pt x="1383" y="329"/>
                        <a:pt x="1385" y="328"/>
                      </a:cubicBezTo>
                      <a:cubicBezTo>
                        <a:pt x="1386" y="328"/>
                        <a:pt x="1386" y="328"/>
                        <a:pt x="1387" y="327"/>
                      </a:cubicBezTo>
                      <a:cubicBezTo>
                        <a:pt x="1390" y="326"/>
                        <a:pt x="1392" y="326"/>
                        <a:pt x="1394" y="325"/>
                      </a:cubicBezTo>
                      <a:cubicBezTo>
                        <a:pt x="1395" y="324"/>
                        <a:pt x="1395" y="324"/>
                        <a:pt x="1395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6" y="324"/>
                        <a:pt x="1396" y="324"/>
                        <a:pt x="1396" y="324"/>
                      </a:cubicBezTo>
                      <a:cubicBezTo>
                        <a:pt x="1399" y="323"/>
                        <a:pt x="1401" y="322"/>
                        <a:pt x="1403" y="322"/>
                      </a:cubicBezTo>
                      <a:cubicBezTo>
                        <a:pt x="1405" y="321"/>
                        <a:pt x="1405" y="321"/>
                        <a:pt x="1405" y="321"/>
                      </a:cubicBezTo>
                      <a:cubicBezTo>
                        <a:pt x="1407" y="320"/>
                        <a:pt x="1409" y="319"/>
                        <a:pt x="1411" y="319"/>
                      </a:cubicBezTo>
                      <a:cubicBezTo>
                        <a:pt x="1413" y="318"/>
                        <a:pt x="1413" y="318"/>
                        <a:pt x="1413" y="318"/>
                      </a:cubicBezTo>
                      <a:cubicBezTo>
                        <a:pt x="1415" y="317"/>
                        <a:pt x="1417" y="316"/>
                        <a:pt x="1419" y="315"/>
                      </a:cubicBezTo>
                      <a:cubicBezTo>
                        <a:pt x="1420" y="315"/>
                        <a:pt x="1420" y="315"/>
                        <a:pt x="1421" y="314"/>
                      </a:cubicBezTo>
                      <a:cubicBezTo>
                        <a:pt x="1423" y="314"/>
                        <a:pt x="1424" y="313"/>
                        <a:pt x="1426" y="312"/>
                      </a:cubicBezTo>
                      <a:cubicBezTo>
                        <a:pt x="1427" y="312"/>
                        <a:pt x="1427" y="311"/>
                        <a:pt x="1428" y="311"/>
                      </a:cubicBezTo>
                      <a:cubicBezTo>
                        <a:pt x="1430" y="310"/>
                        <a:pt x="1432" y="309"/>
                        <a:pt x="1434" y="308"/>
                      </a:cubicBezTo>
                      <a:cubicBezTo>
                        <a:pt x="1435" y="308"/>
                        <a:pt x="1435" y="308"/>
                        <a:pt x="1435" y="308"/>
                      </a:cubicBezTo>
                      <a:cubicBezTo>
                        <a:pt x="1436" y="307"/>
                        <a:pt x="1437" y="306"/>
                        <a:pt x="1439" y="305"/>
                      </a:cubicBezTo>
                      <a:cubicBezTo>
                        <a:pt x="1441" y="304"/>
                        <a:pt x="1441" y="304"/>
                        <a:pt x="1441" y="304"/>
                      </a:cubicBezTo>
                      <a:cubicBezTo>
                        <a:pt x="1442" y="303"/>
                        <a:pt x="1444" y="302"/>
                        <a:pt x="1446" y="301"/>
                      </a:cubicBezTo>
                      <a:cubicBezTo>
                        <a:pt x="1446" y="301"/>
                        <a:pt x="1446" y="301"/>
                        <a:pt x="1446" y="301"/>
                      </a:cubicBezTo>
                      <a:cubicBezTo>
                        <a:pt x="1447" y="301"/>
                        <a:pt x="1447" y="301"/>
                        <a:pt x="1447" y="301"/>
                      </a:cubicBezTo>
                      <a:cubicBezTo>
                        <a:pt x="1448" y="300"/>
                        <a:pt x="1449" y="299"/>
                        <a:pt x="1451" y="298"/>
                      </a:cubicBezTo>
                      <a:cubicBezTo>
                        <a:pt x="1451" y="298"/>
                        <a:pt x="1451" y="297"/>
                        <a:pt x="1452" y="297"/>
                      </a:cubicBezTo>
                      <a:cubicBezTo>
                        <a:pt x="1453" y="296"/>
                        <a:pt x="1454" y="295"/>
                        <a:pt x="1455" y="295"/>
                      </a:cubicBezTo>
                      <a:cubicBezTo>
                        <a:pt x="1456" y="294"/>
                        <a:pt x="1456" y="294"/>
                        <a:pt x="1456" y="294"/>
                      </a:cubicBezTo>
                      <a:cubicBezTo>
                        <a:pt x="1458" y="293"/>
                        <a:pt x="1459" y="292"/>
                        <a:pt x="1460" y="291"/>
                      </a:cubicBezTo>
                      <a:cubicBezTo>
                        <a:pt x="1461" y="290"/>
                        <a:pt x="1461" y="290"/>
                        <a:pt x="1461" y="290"/>
                      </a:cubicBezTo>
                      <a:cubicBezTo>
                        <a:pt x="1462" y="289"/>
                        <a:pt x="1463" y="288"/>
                        <a:pt x="1464" y="287"/>
                      </a:cubicBezTo>
                      <a:cubicBezTo>
                        <a:pt x="1464" y="287"/>
                        <a:pt x="1464" y="287"/>
                        <a:pt x="1465" y="287"/>
                      </a:cubicBezTo>
                      <a:cubicBezTo>
                        <a:pt x="1465" y="286"/>
                        <a:pt x="1466" y="285"/>
                        <a:pt x="1467" y="284"/>
                      </a:cubicBezTo>
                      <a:cubicBezTo>
                        <a:pt x="1467" y="283"/>
                        <a:pt x="1467" y="283"/>
                        <a:pt x="1467" y="283"/>
                      </a:cubicBezTo>
                      <a:cubicBezTo>
                        <a:pt x="1468" y="282"/>
                        <a:pt x="1469" y="281"/>
                        <a:pt x="1470" y="280"/>
                      </a:cubicBezTo>
                      <a:cubicBezTo>
                        <a:pt x="1470" y="280"/>
                        <a:pt x="1470" y="280"/>
                        <a:pt x="1470" y="279"/>
                      </a:cubicBezTo>
                      <a:cubicBezTo>
                        <a:pt x="1471" y="279"/>
                        <a:pt x="1471" y="278"/>
                        <a:pt x="1472" y="277"/>
                      </a:cubicBezTo>
                      <a:cubicBezTo>
                        <a:pt x="1472" y="276"/>
                        <a:pt x="1472" y="276"/>
                        <a:pt x="1472" y="276"/>
                      </a:cubicBezTo>
                      <a:cubicBezTo>
                        <a:pt x="1473" y="275"/>
                        <a:pt x="1473" y="274"/>
                        <a:pt x="1474" y="273"/>
                      </a:cubicBezTo>
                      <a:cubicBezTo>
                        <a:pt x="1474" y="272"/>
                        <a:pt x="1474" y="272"/>
                        <a:pt x="1474" y="272"/>
                      </a:cubicBezTo>
                      <a:cubicBezTo>
                        <a:pt x="1474" y="271"/>
                        <a:pt x="1475" y="271"/>
                        <a:pt x="1475" y="270"/>
                      </a:cubicBezTo>
                      <a:cubicBezTo>
                        <a:pt x="1475" y="269"/>
                        <a:pt x="1475" y="269"/>
                        <a:pt x="1475" y="269"/>
                      </a:cubicBezTo>
                      <a:cubicBezTo>
                        <a:pt x="1475" y="268"/>
                        <a:pt x="1476" y="267"/>
                        <a:pt x="1476" y="266"/>
                      </a:cubicBezTo>
                      <a:cubicBezTo>
                        <a:pt x="1476" y="265"/>
                        <a:pt x="1476" y="265"/>
                        <a:pt x="1476" y="265"/>
                      </a:cubicBezTo>
                      <a:cubicBezTo>
                        <a:pt x="1476" y="265"/>
                        <a:pt x="1476" y="264"/>
                        <a:pt x="1476" y="264"/>
                      </a:cubicBezTo>
                      <a:cubicBezTo>
                        <a:pt x="1476" y="262"/>
                        <a:pt x="1476" y="262"/>
                        <a:pt x="1476" y="262"/>
                      </a:cubicBezTo>
                      <a:cubicBezTo>
                        <a:pt x="1476" y="262"/>
                        <a:pt x="1476" y="261"/>
                        <a:pt x="1476" y="261"/>
                      </a:cubicBezTo>
                      <a:cubicBezTo>
                        <a:pt x="1476" y="260"/>
                        <a:pt x="1476" y="260"/>
                        <a:pt x="1476" y="260"/>
                      </a:cubicBezTo>
                      <a:cubicBezTo>
                        <a:pt x="1480" y="259"/>
                        <a:pt x="1480" y="259"/>
                        <a:pt x="1480" y="259"/>
                      </a:cubicBezTo>
                      <a:cubicBezTo>
                        <a:pt x="1476" y="259"/>
                        <a:pt x="1476" y="259"/>
                        <a:pt x="1476" y="259"/>
                      </a:cubicBezTo>
                      <a:cubicBezTo>
                        <a:pt x="1476" y="259"/>
                        <a:pt x="1476" y="258"/>
                        <a:pt x="1476" y="257"/>
                      </a:cubicBezTo>
                      <a:cubicBezTo>
                        <a:pt x="1475" y="256"/>
                        <a:pt x="1475" y="255"/>
                        <a:pt x="1475" y="254"/>
                      </a:cubicBezTo>
                      <a:cubicBezTo>
                        <a:pt x="1474" y="253"/>
                        <a:pt x="1474" y="253"/>
                        <a:pt x="1474" y="253"/>
                      </a:cubicBezTo>
                      <a:cubicBezTo>
                        <a:pt x="1474" y="253"/>
                        <a:pt x="1474" y="252"/>
                        <a:pt x="1474" y="251"/>
                      </a:cubicBezTo>
                      <a:cubicBezTo>
                        <a:pt x="1473" y="250"/>
                        <a:pt x="1473" y="250"/>
                        <a:pt x="1473" y="250"/>
                      </a:cubicBezTo>
                      <a:cubicBezTo>
                        <a:pt x="1473" y="250"/>
                        <a:pt x="1473" y="249"/>
                        <a:pt x="1472" y="249"/>
                      </a:cubicBezTo>
                      <a:cubicBezTo>
                        <a:pt x="1472" y="248"/>
                        <a:pt x="1472" y="248"/>
                        <a:pt x="1472" y="248"/>
                      </a:cubicBezTo>
                      <a:cubicBezTo>
                        <a:pt x="1471" y="247"/>
                        <a:pt x="1471" y="246"/>
                        <a:pt x="1471" y="246"/>
                      </a:cubicBezTo>
                      <a:cubicBezTo>
                        <a:pt x="1470" y="245"/>
                        <a:pt x="1470" y="245"/>
                        <a:pt x="1470" y="245"/>
                      </a:cubicBezTo>
                      <a:cubicBezTo>
                        <a:pt x="1470" y="244"/>
                        <a:pt x="1469" y="244"/>
                        <a:pt x="1469" y="243"/>
                      </a:cubicBezTo>
                      <a:cubicBezTo>
                        <a:pt x="1468" y="242"/>
                        <a:pt x="1468" y="242"/>
                        <a:pt x="1468" y="242"/>
                      </a:cubicBezTo>
                      <a:cubicBezTo>
                        <a:pt x="1467" y="241"/>
                        <a:pt x="1467" y="241"/>
                        <a:pt x="1466" y="240"/>
                      </a:cubicBezTo>
                      <a:cubicBezTo>
                        <a:pt x="1466" y="240"/>
                        <a:pt x="1466" y="240"/>
                        <a:pt x="1466" y="239"/>
                      </a:cubicBezTo>
                      <a:cubicBezTo>
                        <a:pt x="1465" y="238"/>
                        <a:pt x="1464" y="238"/>
                        <a:pt x="1463" y="237"/>
                      </a:cubicBezTo>
                      <a:cubicBezTo>
                        <a:pt x="1463" y="236"/>
                        <a:pt x="1463" y="236"/>
                        <a:pt x="1463" y="236"/>
                      </a:cubicBezTo>
                      <a:cubicBezTo>
                        <a:pt x="1462" y="235"/>
                        <a:pt x="1461" y="235"/>
                        <a:pt x="1460" y="234"/>
                      </a:cubicBezTo>
                      <a:cubicBezTo>
                        <a:pt x="1459" y="233"/>
                        <a:pt x="1459" y="233"/>
                        <a:pt x="1459" y="233"/>
                      </a:cubicBezTo>
                      <a:cubicBezTo>
                        <a:pt x="1456" y="231"/>
                        <a:pt x="1456" y="231"/>
                        <a:pt x="1456" y="231"/>
                      </a:cubicBezTo>
                      <a:cubicBezTo>
                        <a:pt x="1455" y="230"/>
                        <a:pt x="1455" y="230"/>
                        <a:pt x="1455" y="230"/>
                      </a:cubicBezTo>
                      <a:cubicBezTo>
                        <a:pt x="1454" y="229"/>
                        <a:pt x="1453" y="229"/>
                        <a:pt x="1453" y="228"/>
                      </a:cubicBezTo>
                      <a:cubicBezTo>
                        <a:pt x="1452" y="228"/>
                        <a:pt x="1452" y="227"/>
                        <a:pt x="1451" y="227"/>
                      </a:cubicBezTo>
                      <a:cubicBezTo>
                        <a:pt x="1450" y="226"/>
                        <a:pt x="1449" y="226"/>
                        <a:pt x="1448" y="225"/>
                      </a:cubicBezTo>
                      <a:cubicBezTo>
                        <a:pt x="1447" y="224"/>
                        <a:pt x="1447" y="224"/>
                        <a:pt x="1447" y="224"/>
                      </a:cubicBezTo>
                      <a:cubicBezTo>
                        <a:pt x="1446" y="223"/>
                        <a:pt x="1445" y="223"/>
                        <a:pt x="1444" y="222"/>
                      </a:cubicBezTo>
                      <a:cubicBezTo>
                        <a:pt x="1443" y="222"/>
                        <a:pt x="1443" y="222"/>
                        <a:pt x="1442" y="221"/>
                      </a:cubicBezTo>
                      <a:cubicBezTo>
                        <a:pt x="1442" y="221"/>
                        <a:pt x="1441" y="220"/>
                        <a:pt x="1440" y="220"/>
                      </a:cubicBezTo>
                      <a:cubicBezTo>
                        <a:pt x="1439" y="219"/>
                        <a:pt x="1439" y="219"/>
                        <a:pt x="1439" y="219"/>
                      </a:cubicBezTo>
                      <a:cubicBezTo>
                        <a:pt x="1438" y="219"/>
                        <a:pt x="1438" y="219"/>
                        <a:pt x="1437" y="218"/>
                      </a:cubicBezTo>
                      <a:cubicBezTo>
                        <a:pt x="1436" y="217"/>
                        <a:pt x="1434" y="216"/>
                        <a:pt x="1432" y="216"/>
                      </a:cubicBezTo>
                      <a:cubicBezTo>
                        <a:pt x="1357" y="177"/>
                        <a:pt x="1198" y="152"/>
                        <a:pt x="1027" y="152"/>
                      </a:cubicBezTo>
                      <a:cubicBezTo>
                        <a:pt x="960" y="152"/>
                        <a:pt x="894" y="156"/>
                        <a:pt x="833" y="163"/>
                      </a:cubicBezTo>
                      <a:cubicBezTo>
                        <a:pt x="830" y="164"/>
                        <a:pt x="827" y="164"/>
                        <a:pt x="824" y="165"/>
                      </a:cubicBezTo>
                      <a:cubicBezTo>
                        <a:pt x="824" y="165"/>
                        <a:pt x="817" y="165"/>
                        <a:pt x="816" y="165"/>
                      </a:cubicBezTo>
                      <a:cubicBezTo>
                        <a:pt x="813" y="166"/>
                        <a:pt x="809" y="166"/>
                        <a:pt x="806" y="167"/>
                      </a:cubicBezTo>
                      <a:cubicBezTo>
                        <a:pt x="803" y="167"/>
                        <a:pt x="803" y="167"/>
                        <a:pt x="803" y="167"/>
                      </a:cubicBezTo>
                      <a:cubicBezTo>
                        <a:pt x="799" y="168"/>
                        <a:pt x="795" y="168"/>
                        <a:pt x="791" y="169"/>
                      </a:cubicBezTo>
                      <a:cubicBezTo>
                        <a:pt x="790" y="169"/>
                        <a:pt x="789" y="169"/>
                        <a:pt x="788" y="170"/>
                      </a:cubicBezTo>
                      <a:cubicBezTo>
                        <a:pt x="785" y="170"/>
                        <a:pt x="782" y="171"/>
                        <a:pt x="778" y="171"/>
                      </a:cubicBezTo>
                      <a:cubicBezTo>
                        <a:pt x="777" y="171"/>
                        <a:pt x="776" y="172"/>
                        <a:pt x="776" y="172"/>
                      </a:cubicBezTo>
                      <a:cubicBezTo>
                        <a:pt x="772" y="172"/>
                        <a:pt x="768" y="173"/>
                        <a:pt x="764" y="174"/>
                      </a:cubicBezTo>
                      <a:cubicBezTo>
                        <a:pt x="752" y="176"/>
                        <a:pt x="752" y="176"/>
                        <a:pt x="752" y="176"/>
                      </a:cubicBezTo>
                      <a:cubicBezTo>
                        <a:pt x="750" y="177"/>
                        <a:pt x="750" y="177"/>
                        <a:pt x="750" y="177"/>
                      </a:cubicBezTo>
                      <a:cubicBezTo>
                        <a:pt x="746" y="177"/>
                        <a:pt x="742" y="178"/>
                        <a:pt x="739" y="179"/>
                      </a:cubicBezTo>
                      <a:cubicBezTo>
                        <a:pt x="738" y="179"/>
                        <a:pt x="738" y="179"/>
                        <a:pt x="738" y="179"/>
                      </a:cubicBezTo>
                      <a:cubicBezTo>
                        <a:pt x="738" y="179"/>
                        <a:pt x="730" y="181"/>
                        <a:pt x="728" y="181"/>
                      </a:cubicBezTo>
                      <a:cubicBezTo>
                        <a:pt x="725" y="182"/>
                        <a:pt x="725" y="182"/>
                        <a:pt x="725" y="182"/>
                      </a:cubicBezTo>
                      <a:cubicBezTo>
                        <a:pt x="723" y="182"/>
                        <a:pt x="723" y="182"/>
                        <a:pt x="723" y="182"/>
                      </a:cubicBezTo>
                      <a:cubicBezTo>
                        <a:pt x="721" y="183"/>
                        <a:pt x="719" y="183"/>
                        <a:pt x="717" y="184"/>
                      </a:cubicBezTo>
                      <a:cubicBezTo>
                        <a:pt x="716" y="184"/>
                        <a:pt x="716" y="184"/>
                        <a:pt x="716" y="184"/>
                      </a:cubicBezTo>
                      <a:cubicBezTo>
                        <a:pt x="716" y="184"/>
                        <a:pt x="716" y="184"/>
                        <a:pt x="715" y="184"/>
                      </a:cubicBezTo>
                      <a:cubicBezTo>
                        <a:pt x="712" y="185"/>
                        <a:pt x="708" y="186"/>
                        <a:pt x="705" y="187"/>
                      </a:cubicBezTo>
                      <a:cubicBezTo>
                        <a:pt x="703" y="187"/>
                        <a:pt x="703" y="187"/>
                        <a:pt x="703" y="187"/>
                      </a:cubicBezTo>
                      <a:cubicBezTo>
                        <a:pt x="701" y="188"/>
                        <a:pt x="698" y="189"/>
                        <a:pt x="696" y="189"/>
                      </a:cubicBezTo>
                      <a:cubicBezTo>
                        <a:pt x="695" y="190"/>
                        <a:pt x="694" y="190"/>
                        <a:pt x="693" y="190"/>
                      </a:cubicBezTo>
                      <a:cubicBezTo>
                        <a:pt x="690" y="191"/>
                        <a:pt x="687" y="192"/>
                        <a:pt x="684" y="193"/>
                      </a:cubicBezTo>
                      <a:cubicBezTo>
                        <a:pt x="684" y="193"/>
                        <a:pt x="683" y="193"/>
                        <a:pt x="683" y="193"/>
                      </a:cubicBezTo>
                      <a:cubicBezTo>
                        <a:pt x="680" y="194"/>
                        <a:pt x="678" y="195"/>
                        <a:pt x="676" y="195"/>
                      </a:cubicBezTo>
                      <a:cubicBezTo>
                        <a:pt x="675" y="195"/>
                        <a:pt x="675" y="196"/>
                        <a:pt x="674" y="196"/>
                      </a:cubicBezTo>
                      <a:cubicBezTo>
                        <a:pt x="673" y="196"/>
                        <a:pt x="673" y="196"/>
                        <a:pt x="673" y="196"/>
                      </a:cubicBezTo>
                      <a:cubicBezTo>
                        <a:pt x="671" y="197"/>
                        <a:pt x="668" y="198"/>
                        <a:pt x="665" y="199"/>
                      </a:cubicBezTo>
                      <a:cubicBezTo>
                        <a:pt x="665" y="199"/>
                        <a:pt x="665" y="199"/>
                        <a:pt x="665" y="199"/>
                      </a:cubicBezTo>
                      <a:cubicBezTo>
                        <a:pt x="663" y="200"/>
                        <a:pt x="661" y="200"/>
                        <a:pt x="660" y="201"/>
                      </a:cubicBezTo>
                      <a:cubicBezTo>
                        <a:pt x="657" y="202"/>
                        <a:pt x="657" y="202"/>
                        <a:pt x="657" y="202"/>
                      </a:cubicBezTo>
                      <a:cubicBezTo>
                        <a:pt x="656" y="202"/>
                        <a:pt x="656" y="202"/>
                        <a:pt x="656" y="202"/>
                      </a:cubicBezTo>
                      <a:cubicBezTo>
                        <a:pt x="653" y="203"/>
                        <a:pt x="651" y="204"/>
                        <a:pt x="649" y="205"/>
                      </a:cubicBezTo>
                      <a:cubicBezTo>
                        <a:pt x="649" y="205"/>
                        <a:pt x="649" y="205"/>
                        <a:pt x="648" y="205"/>
                      </a:cubicBezTo>
                      <a:cubicBezTo>
                        <a:pt x="646" y="206"/>
                        <a:pt x="643" y="207"/>
                        <a:pt x="641" y="208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40" y="209"/>
                        <a:pt x="640" y="209"/>
                        <a:pt x="640" y="209"/>
                      </a:cubicBezTo>
                      <a:cubicBezTo>
                        <a:pt x="638" y="210"/>
                        <a:pt x="636" y="211"/>
                        <a:pt x="634" y="211"/>
                      </a:cubicBezTo>
                      <a:cubicBezTo>
                        <a:pt x="634" y="212"/>
                        <a:pt x="633" y="212"/>
                        <a:pt x="633" y="212"/>
                      </a:cubicBezTo>
                      <a:cubicBezTo>
                        <a:pt x="631" y="213"/>
                        <a:pt x="629" y="214"/>
                        <a:pt x="627" y="215"/>
                      </a:cubicBezTo>
                      <a:cubicBezTo>
                        <a:pt x="627" y="215"/>
                        <a:pt x="626" y="215"/>
                        <a:pt x="626" y="216"/>
                      </a:cubicBezTo>
                      <a:cubicBezTo>
                        <a:pt x="624" y="217"/>
                        <a:pt x="623" y="217"/>
                        <a:pt x="621" y="218"/>
                      </a:cubicBezTo>
                      <a:cubicBezTo>
                        <a:pt x="621" y="219"/>
                        <a:pt x="620" y="219"/>
                        <a:pt x="620" y="219"/>
                      </a:cubicBezTo>
                      <a:cubicBezTo>
                        <a:pt x="618" y="220"/>
                        <a:pt x="617" y="221"/>
                        <a:pt x="615" y="222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4" y="223"/>
                        <a:pt x="614" y="223"/>
                        <a:pt x="614" y="223"/>
                      </a:cubicBezTo>
                      <a:cubicBezTo>
                        <a:pt x="612" y="224"/>
                        <a:pt x="611" y="224"/>
                        <a:pt x="610" y="225"/>
                      </a:cubicBezTo>
                      <a:cubicBezTo>
                        <a:pt x="609" y="226"/>
                        <a:pt x="609" y="226"/>
                        <a:pt x="609" y="226"/>
                      </a:cubicBezTo>
                      <a:cubicBezTo>
                        <a:pt x="607" y="227"/>
                        <a:pt x="606" y="228"/>
                        <a:pt x="605" y="229"/>
                      </a:cubicBezTo>
                      <a:cubicBezTo>
                        <a:pt x="604" y="229"/>
                        <a:pt x="604" y="229"/>
                        <a:pt x="604" y="229"/>
                      </a:cubicBezTo>
                      <a:cubicBezTo>
                        <a:pt x="603" y="230"/>
                        <a:pt x="602" y="231"/>
                        <a:pt x="601" y="233"/>
                      </a:cubicBezTo>
                      <a:cubicBezTo>
                        <a:pt x="600" y="233"/>
                        <a:pt x="600" y="233"/>
                        <a:pt x="600" y="233"/>
                      </a:cubicBezTo>
                      <a:cubicBezTo>
                        <a:pt x="599" y="234"/>
                        <a:pt x="598" y="235"/>
                        <a:pt x="597" y="236"/>
                      </a:cubicBezTo>
                      <a:cubicBezTo>
                        <a:pt x="597" y="236"/>
                        <a:pt x="596" y="236"/>
                        <a:pt x="596" y="237"/>
                      </a:cubicBezTo>
                      <a:cubicBezTo>
                        <a:pt x="595" y="238"/>
                        <a:pt x="594" y="239"/>
                        <a:pt x="593" y="240"/>
                      </a:cubicBezTo>
                      <a:cubicBezTo>
                        <a:pt x="593" y="240"/>
                        <a:pt x="593" y="240"/>
                        <a:pt x="593" y="240"/>
                      </a:cubicBezTo>
                      <a:cubicBezTo>
                        <a:pt x="592" y="241"/>
                        <a:pt x="592" y="242"/>
                        <a:pt x="591" y="243"/>
                      </a:cubicBezTo>
                      <a:cubicBezTo>
                        <a:pt x="590" y="244"/>
                        <a:pt x="590" y="244"/>
                        <a:pt x="590" y="244"/>
                      </a:cubicBezTo>
                      <a:cubicBezTo>
                        <a:pt x="590" y="245"/>
                        <a:pt x="589" y="246"/>
                        <a:pt x="588" y="247"/>
                      </a:cubicBezTo>
                      <a:cubicBezTo>
                        <a:pt x="588" y="247"/>
                        <a:pt x="588" y="247"/>
                        <a:pt x="588" y="247"/>
                      </a:cubicBezTo>
                      <a:cubicBezTo>
                        <a:pt x="588" y="248"/>
                        <a:pt x="587" y="249"/>
                        <a:pt x="587" y="250"/>
                      </a:cubicBezTo>
                      <a:cubicBezTo>
                        <a:pt x="587" y="251"/>
                        <a:pt x="587" y="251"/>
                        <a:pt x="587" y="251"/>
                      </a:cubicBezTo>
                      <a:cubicBezTo>
                        <a:pt x="586" y="252"/>
                        <a:pt x="586" y="253"/>
                        <a:pt x="586" y="254"/>
                      </a:cubicBezTo>
                      <a:cubicBezTo>
                        <a:pt x="585" y="254"/>
                        <a:pt x="585" y="254"/>
                        <a:pt x="585" y="254"/>
                      </a:cubicBezTo>
                      <a:cubicBezTo>
                        <a:pt x="585" y="255"/>
                        <a:pt x="585" y="256"/>
                        <a:pt x="585" y="257"/>
                      </a:cubicBezTo>
                      <a:cubicBezTo>
                        <a:pt x="585" y="258"/>
                        <a:pt x="585" y="258"/>
                        <a:pt x="585" y="258"/>
                      </a:cubicBezTo>
                      <a:cubicBezTo>
                        <a:pt x="585" y="259"/>
                        <a:pt x="584" y="260"/>
                        <a:pt x="584" y="260"/>
                      </a:cubicBezTo>
                      <a:cubicBezTo>
                        <a:pt x="584" y="261"/>
                        <a:pt x="584" y="261"/>
                        <a:pt x="584" y="261"/>
                      </a:cubicBezTo>
                      <a:cubicBezTo>
                        <a:pt x="584" y="263"/>
                        <a:pt x="584" y="263"/>
                        <a:pt x="584" y="263"/>
                      </a:cubicBezTo>
                      <a:cubicBezTo>
                        <a:pt x="585" y="264"/>
                        <a:pt x="585" y="264"/>
                        <a:pt x="585" y="264"/>
                      </a:cubicBezTo>
                      <a:cubicBezTo>
                        <a:pt x="585" y="265"/>
                        <a:pt x="585" y="266"/>
                        <a:pt x="585" y="266"/>
                      </a:cubicBezTo>
                      <a:cubicBezTo>
                        <a:pt x="585" y="267"/>
                        <a:pt x="585" y="267"/>
                        <a:pt x="585" y="267"/>
                      </a:cubicBezTo>
                      <a:cubicBezTo>
                        <a:pt x="585" y="268"/>
                        <a:pt x="585" y="268"/>
                        <a:pt x="586" y="269"/>
                      </a:cubicBezTo>
                      <a:cubicBezTo>
                        <a:pt x="586" y="270"/>
                        <a:pt x="586" y="270"/>
                        <a:pt x="586" y="270"/>
                      </a:cubicBezTo>
                      <a:cubicBezTo>
                        <a:pt x="586" y="271"/>
                        <a:pt x="587" y="271"/>
                        <a:pt x="587" y="272"/>
                      </a:cubicBezTo>
                      <a:cubicBezTo>
                        <a:pt x="587" y="273"/>
                        <a:pt x="587" y="273"/>
                        <a:pt x="587" y="273"/>
                      </a:cubicBezTo>
                      <a:cubicBezTo>
                        <a:pt x="587" y="273"/>
                        <a:pt x="588" y="274"/>
                        <a:pt x="588" y="275"/>
                      </a:cubicBezTo>
                      <a:cubicBezTo>
                        <a:pt x="588" y="275"/>
                        <a:pt x="589" y="275"/>
                        <a:pt x="589" y="276"/>
                      </a:cubicBezTo>
                      <a:cubicBezTo>
                        <a:pt x="589" y="276"/>
                        <a:pt x="589" y="277"/>
                        <a:pt x="590" y="277"/>
                      </a:cubicBezTo>
                      <a:cubicBezTo>
                        <a:pt x="590" y="278"/>
                        <a:pt x="590" y="278"/>
                        <a:pt x="590" y="278"/>
                      </a:cubicBezTo>
                      <a:cubicBezTo>
                        <a:pt x="591" y="279"/>
                        <a:pt x="591" y="280"/>
                        <a:pt x="592" y="280"/>
                      </a:cubicBezTo>
                      <a:cubicBezTo>
                        <a:pt x="593" y="281"/>
                        <a:pt x="593" y="281"/>
                        <a:pt x="593" y="281"/>
                      </a:cubicBezTo>
                      <a:cubicBezTo>
                        <a:pt x="593" y="282"/>
                        <a:pt x="594" y="283"/>
                        <a:pt x="594" y="283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5" y="284"/>
                        <a:pt x="595" y="284"/>
                        <a:pt x="595" y="284"/>
                      </a:cubicBezTo>
                      <a:cubicBezTo>
                        <a:pt x="596" y="285"/>
                        <a:pt x="596" y="286"/>
                        <a:pt x="597" y="286"/>
                      </a:cubicBezTo>
                      <a:cubicBezTo>
                        <a:pt x="598" y="287"/>
                        <a:pt x="598" y="287"/>
                        <a:pt x="598" y="287"/>
                      </a:cubicBezTo>
                      <a:cubicBezTo>
                        <a:pt x="599" y="288"/>
                        <a:pt x="600" y="289"/>
                        <a:pt x="601" y="290"/>
                      </a:cubicBezTo>
                      <a:cubicBezTo>
                        <a:pt x="601" y="290"/>
                        <a:pt x="602" y="290"/>
                        <a:pt x="602" y="291"/>
                      </a:cubicBezTo>
                      <a:cubicBezTo>
                        <a:pt x="604" y="293"/>
                        <a:pt x="604" y="293"/>
                        <a:pt x="604" y="293"/>
                      </a:cubicBezTo>
                      <a:cubicBezTo>
                        <a:pt x="605" y="293"/>
                        <a:pt x="605" y="293"/>
                        <a:pt x="605" y="293"/>
                      </a:cubicBezTo>
                      <a:cubicBezTo>
                        <a:pt x="605" y="293"/>
                        <a:pt x="605" y="293"/>
                        <a:pt x="606" y="294"/>
                      </a:cubicBezTo>
                      <a:cubicBezTo>
                        <a:pt x="606" y="294"/>
                        <a:pt x="607" y="295"/>
                        <a:pt x="608" y="295"/>
                      </a:cubicBezTo>
                      <a:cubicBezTo>
                        <a:pt x="609" y="296"/>
                        <a:pt x="609" y="296"/>
                        <a:pt x="609" y="296"/>
                      </a:cubicBezTo>
                      <a:cubicBezTo>
                        <a:pt x="610" y="297"/>
                        <a:pt x="611" y="298"/>
                        <a:pt x="612" y="298"/>
                      </a:cubicBezTo>
                      <a:cubicBezTo>
                        <a:pt x="613" y="299"/>
                        <a:pt x="613" y="299"/>
                        <a:pt x="614" y="299"/>
                      </a:cubicBezTo>
                      <a:cubicBezTo>
                        <a:pt x="615" y="300"/>
                        <a:pt x="616" y="301"/>
                        <a:pt x="617" y="301"/>
                      </a:cubicBezTo>
                      <a:cubicBezTo>
                        <a:pt x="617" y="301"/>
                        <a:pt x="618" y="302"/>
                        <a:pt x="618" y="302"/>
                      </a:cubicBezTo>
                      <a:cubicBezTo>
                        <a:pt x="622" y="304"/>
                        <a:pt x="622" y="304"/>
                        <a:pt x="622" y="304"/>
                      </a:cubicBezTo>
                      <a:cubicBezTo>
                        <a:pt x="622" y="304"/>
                        <a:pt x="623" y="305"/>
                        <a:pt x="623" y="305"/>
                      </a:cubicBezTo>
                      <a:cubicBezTo>
                        <a:pt x="625" y="306"/>
                        <a:pt x="627" y="307"/>
                        <a:pt x="628" y="308"/>
                      </a:cubicBezTo>
                      <a:cubicBezTo>
                        <a:pt x="644" y="316"/>
                        <a:pt x="664" y="324"/>
                        <a:pt x="687" y="330"/>
                      </a:cubicBezTo>
                      <a:cubicBezTo>
                        <a:pt x="687" y="331"/>
                        <a:pt x="687" y="331"/>
                        <a:pt x="687" y="331"/>
                      </a:cubicBezTo>
                      <a:cubicBezTo>
                        <a:pt x="688" y="331"/>
                        <a:pt x="688" y="331"/>
                        <a:pt x="688" y="331"/>
                      </a:cubicBezTo>
                      <a:lnTo>
                        <a:pt x="689" y="331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sz="900" dirty="0"/>
                </a:p>
              </p:txBody>
            </p:sp>
          </p:grpSp>
        </p:grpSp>
        <p:sp>
          <p:nvSpPr>
            <p:cNvPr id="23" name="Rectangle 4">
              <a:extLst>
                <a:ext uri="{FF2B5EF4-FFF2-40B4-BE49-F238E27FC236}">
                  <a16:creationId xmlns:a16="http://schemas.microsoft.com/office/drawing/2014/main" id="{245BD9ED-99AD-A63E-71C0-31B859619DFA}"/>
                </a:ext>
              </a:extLst>
            </p:cNvPr>
            <p:cNvSpPr/>
            <p:nvPr/>
          </p:nvSpPr>
          <p:spPr>
            <a:xfrm flipH="1">
              <a:off x="2708675" y="2067338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1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4A477539-0F64-7C93-2DB3-A3333F9ACF9E}"/>
                </a:ext>
              </a:extLst>
            </p:cNvPr>
            <p:cNvSpPr/>
            <p:nvPr/>
          </p:nvSpPr>
          <p:spPr>
            <a:xfrm flipH="1">
              <a:off x="2708675" y="2797303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2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273D4261-E19B-5F6F-206F-243B9E287EE6}"/>
                </a:ext>
              </a:extLst>
            </p:cNvPr>
            <p:cNvSpPr/>
            <p:nvPr/>
          </p:nvSpPr>
          <p:spPr>
            <a:xfrm flipH="1">
              <a:off x="2708675" y="3485004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3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4CFBABC0-A9DD-B1A1-F02D-30B7149C2CCC}"/>
                </a:ext>
              </a:extLst>
            </p:cNvPr>
            <p:cNvSpPr/>
            <p:nvPr/>
          </p:nvSpPr>
          <p:spPr>
            <a:xfrm flipH="1">
              <a:off x="2708675" y="4096215"/>
              <a:ext cx="425233" cy="5090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pt-BR" sz="2400" b="1">
                  <a:solidFill>
                    <a:schemeClr val="lt1"/>
                  </a:solidFill>
                </a:rPr>
                <a:t>4</a:t>
              </a:r>
              <a:endParaRPr lang="pt-BR" sz="825" b="1" dirty="0">
                <a:solidFill>
                  <a:schemeClr val="lt1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2050" name="Picture 2" descr="Bluetooth: o que é, como funciona e versões">
            <a:extLst>
              <a:ext uri="{FF2B5EF4-FFF2-40B4-BE49-F238E27FC236}">
                <a16:creationId xmlns:a16="http://schemas.microsoft.com/office/drawing/2014/main" id="{AF78BF3E-7761-979C-CF0B-38C5204C8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299" y="1119172"/>
            <a:ext cx="2302077" cy="135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172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curta distância</a:t>
            </a:r>
          </a:p>
        </p:txBody>
      </p:sp>
      <p:pic>
        <p:nvPicPr>
          <p:cNvPr id="2" name="Imagem 1" descr="Resultado de imagem para zigbee">
            <a:extLst>
              <a:ext uri="{FF2B5EF4-FFF2-40B4-BE49-F238E27FC236}">
                <a16:creationId xmlns:a16="http://schemas.microsoft.com/office/drawing/2014/main" id="{9B04F65D-AE39-5E72-1FBF-9171852AB5FB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970398"/>
            <a:ext cx="2269633" cy="1436431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62A82C82-D4BE-3ED7-E837-271CBEA96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2652244"/>
            <a:ext cx="3623320" cy="2372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" name="Groupe 3">
            <a:extLst>
              <a:ext uri="{FF2B5EF4-FFF2-40B4-BE49-F238E27FC236}">
                <a16:creationId xmlns:a16="http://schemas.microsoft.com/office/drawing/2014/main" id="{1FEE8454-6344-7FB1-EA69-730F695A8514}"/>
              </a:ext>
            </a:extLst>
          </p:cNvPr>
          <p:cNvGrpSpPr/>
          <p:nvPr/>
        </p:nvGrpSpPr>
        <p:grpSpPr>
          <a:xfrm>
            <a:off x="4583925" y="1844824"/>
            <a:ext cx="4092531" cy="461665"/>
            <a:chOff x="151318" y="1705989"/>
            <a:chExt cx="4663444" cy="615552"/>
          </a:xfrm>
        </p:grpSpPr>
        <p:sp>
          <p:nvSpPr>
            <p:cNvPr id="13" name="TextBox 82">
              <a:extLst>
                <a:ext uri="{FF2B5EF4-FFF2-40B4-BE49-F238E27FC236}">
                  <a16:creationId xmlns:a16="http://schemas.microsoft.com/office/drawing/2014/main" id="{FE33F27E-DADC-326C-F0A9-73876D3B14D9}"/>
                </a:ext>
              </a:extLst>
            </p:cNvPr>
            <p:cNvSpPr txBox="1"/>
            <p:nvPr/>
          </p:nvSpPr>
          <p:spPr>
            <a:xfrm>
              <a:off x="699962" y="1705989"/>
              <a:ext cx="4114800" cy="61555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1"/>
                  </a:solidFill>
                  <a:latin typeface="Gotham HTF"/>
                </a:rPr>
                <a:t>Padrão IEEE 802.15.4</a:t>
              </a:r>
            </a:p>
          </p:txBody>
        </p:sp>
        <p:grpSp>
          <p:nvGrpSpPr>
            <p:cNvPr id="14" name="Groupe 5">
              <a:extLst>
                <a:ext uri="{FF2B5EF4-FFF2-40B4-BE49-F238E27FC236}">
                  <a16:creationId xmlns:a16="http://schemas.microsoft.com/office/drawing/2014/main" id="{25EAF48E-9057-1E56-00E2-6B3C1630C16C}"/>
                </a:ext>
              </a:extLst>
            </p:cNvPr>
            <p:cNvGrpSpPr/>
            <p:nvPr/>
          </p:nvGrpSpPr>
          <p:grpSpPr>
            <a:xfrm>
              <a:off x="151318" y="1726507"/>
              <a:ext cx="400456" cy="574515"/>
              <a:chOff x="414857" y="1738356"/>
              <a:chExt cx="465764" cy="668210"/>
            </a:xfrm>
          </p:grpSpPr>
          <p:sp>
            <p:nvSpPr>
              <p:cNvPr id="15" name="Ellipse 6">
                <a:extLst>
                  <a:ext uri="{FF2B5EF4-FFF2-40B4-BE49-F238E27FC236}">
                    <a16:creationId xmlns:a16="http://schemas.microsoft.com/office/drawing/2014/main" id="{41C509BB-38DC-C5E6-7C34-DB9B881427AA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46" name="Rectangle 8">
                <a:extLst>
                  <a:ext uri="{FF2B5EF4-FFF2-40B4-BE49-F238E27FC236}">
                    <a16:creationId xmlns:a16="http://schemas.microsoft.com/office/drawing/2014/main" id="{15E8D42B-8C83-2CD8-F45E-CB565C4A51A8}"/>
                  </a:ext>
                </a:extLst>
              </p:cNvPr>
              <p:cNvSpPr/>
              <p:nvPr/>
            </p:nvSpPr>
            <p:spPr>
              <a:xfrm flipH="1">
                <a:off x="451843" y="1738356"/>
                <a:ext cx="391793" cy="668210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1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7" name="Groupe 8">
            <a:extLst>
              <a:ext uri="{FF2B5EF4-FFF2-40B4-BE49-F238E27FC236}">
                <a16:creationId xmlns:a16="http://schemas.microsoft.com/office/drawing/2014/main" id="{857787BF-798A-05B2-0604-BBBD58DB5153}"/>
              </a:ext>
            </a:extLst>
          </p:cNvPr>
          <p:cNvGrpSpPr/>
          <p:nvPr/>
        </p:nvGrpSpPr>
        <p:grpSpPr>
          <a:xfrm>
            <a:off x="4583925" y="2542642"/>
            <a:ext cx="4092531" cy="1200329"/>
            <a:chOff x="183118" y="2787824"/>
            <a:chExt cx="4663444" cy="1600439"/>
          </a:xfrm>
        </p:grpSpPr>
        <p:sp>
          <p:nvSpPr>
            <p:cNvPr id="48" name="TextBox 82">
              <a:extLst>
                <a:ext uri="{FF2B5EF4-FFF2-40B4-BE49-F238E27FC236}">
                  <a16:creationId xmlns:a16="http://schemas.microsoft.com/office/drawing/2014/main" id="{D4F0CD42-C7B7-CCE9-32BD-9DC16E18EBB9}"/>
                </a:ext>
              </a:extLst>
            </p:cNvPr>
            <p:cNvSpPr txBox="1"/>
            <p:nvPr/>
          </p:nvSpPr>
          <p:spPr>
            <a:xfrm>
              <a:off x="731762" y="2787824"/>
              <a:ext cx="4114800" cy="1600439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2"/>
                  </a:solidFill>
                  <a:latin typeface="Gotham HTF"/>
                </a:rPr>
                <a:t>Baixas taxas de transmissão na comunicação</a:t>
              </a:r>
            </a:p>
          </p:txBody>
        </p:sp>
        <p:grpSp>
          <p:nvGrpSpPr>
            <p:cNvPr id="49" name="Groupe 10">
              <a:extLst>
                <a:ext uri="{FF2B5EF4-FFF2-40B4-BE49-F238E27FC236}">
                  <a16:creationId xmlns:a16="http://schemas.microsoft.com/office/drawing/2014/main" id="{887AF282-281B-A425-FA84-909C5EDF21F2}"/>
                </a:ext>
              </a:extLst>
            </p:cNvPr>
            <p:cNvGrpSpPr/>
            <p:nvPr/>
          </p:nvGrpSpPr>
          <p:grpSpPr>
            <a:xfrm>
              <a:off x="183118" y="3300782"/>
              <a:ext cx="400456" cy="574517"/>
              <a:chOff x="414857" y="1738354"/>
              <a:chExt cx="465764" cy="668212"/>
            </a:xfrm>
          </p:grpSpPr>
          <p:sp>
            <p:nvSpPr>
              <p:cNvPr id="50" name="Ellipse 11">
                <a:extLst>
                  <a:ext uri="{FF2B5EF4-FFF2-40B4-BE49-F238E27FC236}">
                    <a16:creationId xmlns:a16="http://schemas.microsoft.com/office/drawing/2014/main" id="{CD024CC1-9E37-0911-3E64-1EB187274037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51" name="Rectangle 13">
                <a:extLst>
                  <a:ext uri="{FF2B5EF4-FFF2-40B4-BE49-F238E27FC236}">
                    <a16:creationId xmlns:a16="http://schemas.microsoft.com/office/drawing/2014/main" id="{0B6EC4C5-2BD4-DA13-3EC1-98A981081885}"/>
                  </a:ext>
                </a:extLst>
              </p:cNvPr>
              <p:cNvSpPr/>
              <p:nvPr/>
            </p:nvSpPr>
            <p:spPr>
              <a:xfrm flipH="1">
                <a:off x="451843" y="1738354"/>
                <a:ext cx="391793" cy="668212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2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2" name="Groupe 13">
            <a:extLst>
              <a:ext uri="{FF2B5EF4-FFF2-40B4-BE49-F238E27FC236}">
                <a16:creationId xmlns:a16="http://schemas.microsoft.com/office/drawing/2014/main" id="{5FADE4C8-2F72-78F3-95C1-036D1021410A}"/>
              </a:ext>
            </a:extLst>
          </p:cNvPr>
          <p:cNvGrpSpPr/>
          <p:nvPr/>
        </p:nvGrpSpPr>
        <p:grpSpPr>
          <a:xfrm>
            <a:off x="4583925" y="3979124"/>
            <a:ext cx="4092531" cy="830997"/>
            <a:chOff x="151318" y="4807708"/>
            <a:chExt cx="4663444" cy="1107995"/>
          </a:xfrm>
        </p:grpSpPr>
        <p:sp>
          <p:nvSpPr>
            <p:cNvPr id="53" name="TextBox 82">
              <a:extLst>
                <a:ext uri="{FF2B5EF4-FFF2-40B4-BE49-F238E27FC236}">
                  <a16:creationId xmlns:a16="http://schemas.microsoft.com/office/drawing/2014/main" id="{0F2A986C-B8B0-F6C9-8697-180210440C9F}"/>
                </a:ext>
              </a:extLst>
            </p:cNvPr>
            <p:cNvSpPr txBox="1"/>
            <p:nvPr/>
          </p:nvSpPr>
          <p:spPr>
            <a:xfrm>
              <a:off x="699962" y="4807708"/>
              <a:ext cx="4114800" cy="110799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3"/>
                  </a:solidFill>
                  <a:latin typeface="Gotham HTF"/>
                </a:rPr>
                <a:t>Baixo custo e consome pouca energia</a:t>
              </a:r>
            </a:p>
          </p:txBody>
        </p:sp>
        <p:grpSp>
          <p:nvGrpSpPr>
            <p:cNvPr id="54" name="Groupe 15">
              <a:extLst>
                <a:ext uri="{FF2B5EF4-FFF2-40B4-BE49-F238E27FC236}">
                  <a16:creationId xmlns:a16="http://schemas.microsoft.com/office/drawing/2014/main" id="{ED6FE732-E6E1-35C8-3D94-328B238CAF48}"/>
                </a:ext>
              </a:extLst>
            </p:cNvPr>
            <p:cNvGrpSpPr/>
            <p:nvPr/>
          </p:nvGrpSpPr>
          <p:grpSpPr>
            <a:xfrm>
              <a:off x="151318" y="5074446"/>
              <a:ext cx="400456" cy="574515"/>
              <a:chOff x="414857" y="1738356"/>
              <a:chExt cx="465764" cy="668210"/>
            </a:xfrm>
          </p:grpSpPr>
          <p:sp>
            <p:nvSpPr>
              <p:cNvPr id="55" name="Ellipse 16">
                <a:extLst>
                  <a:ext uri="{FF2B5EF4-FFF2-40B4-BE49-F238E27FC236}">
                    <a16:creationId xmlns:a16="http://schemas.microsoft.com/office/drawing/2014/main" id="{DD272FBA-6473-480F-F8AA-60EF2774F846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56" name="Rectangle 18">
                <a:extLst>
                  <a:ext uri="{FF2B5EF4-FFF2-40B4-BE49-F238E27FC236}">
                    <a16:creationId xmlns:a16="http://schemas.microsoft.com/office/drawing/2014/main" id="{945A1103-183F-A7C5-6CD6-FC31E8D8D3C9}"/>
                  </a:ext>
                </a:extLst>
              </p:cNvPr>
              <p:cNvSpPr/>
              <p:nvPr/>
            </p:nvSpPr>
            <p:spPr>
              <a:xfrm flipH="1">
                <a:off x="451843" y="1738356"/>
                <a:ext cx="391793" cy="668210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3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7" name="Groupe 18">
            <a:extLst>
              <a:ext uri="{FF2B5EF4-FFF2-40B4-BE49-F238E27FC236}">
                <a16:creationId xmlns:a16="http://schemas.microsoft.com/office/drawing/2014/main" id="{26BA1A04-C623-9E09-B70D-FE6A4493BA36}"/>
              </a:ext>
            </a:extLst>
          </p:cNvPr>
          <p:cNvGrpSpPr/>
          <p:nvPr/>
        </p:nvGrpSpPr>
        <p:grpSpPr>
          <a:xfrm>
            <a:off x="4583925" y="5046275"/>
            <a:ext cx="4092530" cy="830997"/>
            <a:chOff x="151319" y="4055127"/>
            <a:chExt cx="4663443" cy="1107994"/>
          </a:xfrm>
        </p:grpSpPr>
        <p:sp>
          <p:nvSpPr>
            <p:cNvPr id="58" name="TextBox 82">
              <a:extLst>
                <a:ext uri="{FF2B5EF4-FFF2-40B4-BE49-F238E27FC236}">
                  <a16:creationId xmlns:a16="http://schemas.microsoft.com/office/drawing/2014/main" id="{EE63709B-E867-81D1-BF14-36767EB3D427}"/>
                </a:ext>
              </a:extLst>
            </p:cNvPr>
            <p:cNvSpPr txBox="1"/>
            <p:nvPr/>
          </p:nvSpPr>
          <p:spPr>
            <a:xfrm>
              <a:off x="699963" y="4055127"/>
              <a:ext cx="4114799" cy="1107994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685800">
                <a:defRPr/>
              </a:pPr>
              <a:r>
                <a:rPr lang="pt-BR" sz="2400" b="1" dirty="0">
                  <a:solidFill>
                    <a:schemeClr val="accent4"/>
                  </a:solidFill>
                  <a:latin typeface="Gotham HTF"/>
                </a:rPr>
                <a:t>Trabalha em topologia </a:t>
              </a:r>
              <a:r>
                <a:rPr lang="pt-BR" sz="2400" b="1" dirty="0" err="1">
                  <a:solidFill>
                    <a:schemeClr val="accent4"/>
                  </a:solidFill>
                  <a:latin typeface="Gotham HTF"/>
                </a:rPr>
                <a:t>mesh</a:t>
              </a:r>
              <a:endParaRPr lang="pt-BR" sz="2400" b="1" dirty="0">
                <a:solidFill>
                  <a:schemeClr val="accent4"/>
                </a:solidFill>
                <a:latin typeface="Gotham HTF"/>
              </a:endParaRPr>
            </a:p>
          </p:txBody>
        </p:sp>
        <p:grpSp>
          <p:nvGrpSpPr>
            <p:cNvPr id="59" name="Groupe 20">
              <a:extLst>
                <a:ext uri="{FF2B5EF4-FFF2-40B4-BE49-F238E27FC236}">
                  <a16:creationId xmlns:a16="http://schemas.microsoft.com/office/drawing/2014/main" id="{2D8E458F-D8A7-B0F3-B9A1-E8EEBC8617A0}"/>
                </a:ext>
              </a:extLst>
            </p:cNvPr>
            <p:cNvGrpSpPr/>
            <p:nvPr/>
          </p:nvGrpSpPr>
          <p:grpSpPr>
            <a:xfrm>
              <a:off x="151319" y="4321866"/>
              <a:ext cx="400456" cy="574515"/>
              <a:chOff x="414857" y="1738356"/>
              <a:chExt cx="465764" cy="668210"/>
            </a:xfrm>
          </p:grpSpPr>
          <p:sp>
            <p:nvSpPr>
              <p:cNvPr id="60" name="Ellipse 21">
                <a:extLst>
                  <a:ext uri="{FF2B5EF4-FFF2-40B4-BE49-F238E27FC236}">
                    <a16:creationId xmlns:a16="http://schemas.microsoft.com/office/drawing/2014/main" id="{3AA316F6-6A96-25BF-CDCC-87585549D752}"/>
                  </a:ext>
                </a:extLst>
              </p:cNvPr>
              <p:cNvSpPr/>
              <p:nvPr/>
            </p:nvSpPr>
            <p:spPr>
              <a:xfrm>
                <a:off x="414857" y="1839576"/>
                <a:ext cx="465764" cy="46576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Gotham HTF"/>
                </a:endParaRPr>
              </a:p>
            </p:txBody>
          </p:sp>
          <p:sp>
            <p:nvSpPr>
              <p:cNvPr id="61" name="Rectangle 23">
                <a:extLst>
                  <a:ext uri="{FF2B5EF4-FFF2-40B4-BE49-F238E27FC236}">
                    <a16:creationId xmlns:a16="http://schemas.microsoft.com/office/drawing/2014/main" id="{2B202082-C49B-4FBD-D5D1-A383C587221A}"/>
                  </a:ext>
                </a:extLst>
              </p:cNvPr>
              <p:cNvSpPr/>
              <p:nvPr/>
            </p:nvSpPr>
            <p:spPr>
              <a:xfrm flipH="1">
                <a:off x="451843" y="1738356"/>
                <a:ext cx="391793" cy="668210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685800">
                  <a:defRPr/>
                </a:pPr>
                <a:r>
                  <a:rPr lang="pt-BR" sz="2800" b="1">
                    <a:solidFill>
                      <a:schemeClr val="bg1"/>
                    </a:solidFill>
                    <a:latin typeface="Gotham HTF"/>
                  </a:rPr>
                  <a:t>4</a:t>
                </a:r>
                <a:endParaRPr lang="pt-BR" sz="1100" b="1" dirty="0">
                  <a:solidFill>
                    <a:schemeClr val="bg1"/>
                  </a:solidFill>
                  <a:latin typeface="Gotham HTF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410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4 – Introdução a Internet das Coisas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TextBox 6">
            <a:extLst>
              <a:ext uri="{FF2B5EF4-FFF2-40B4-BE49-F238E27FC236}">
                <a16:creationId xmlns:a16="http://schemas.microsoft.com/office/drawing/2014/main" id="{7C3654BA-AC54-6F8D-211F-34BEC1998287}"/>
              </a:ext>
            </a:extLst>
          </p:cNvPr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ngenharia de Software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Edge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ing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&amp;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er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systems 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longa distânci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AACF04-AF7F-10FF-BEDB-56BF859019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53" t="3311" r="19140" b="3396"/>
          <a:stretch/>
        </p:blipFill>
        <p:spPr bwMode="auto">
          <a:xfrm>
            <a:off x="1909916" y="985153"/>
            <a:ext cx="5324169" cy="5324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4674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Tecnologias de longa distância</a:t>
            </a:r>
          </a:p>
        </p:txBody>
      </p:sp>
      <p:pic>
        <p:nvPicPr>
          <p:cNvPr id="2" name="Picture 12">
            <a:extLst>
              <a:ext uri="{FF2B5EF4-FFF2-40B4-BE49-F238E27FC236}">
                <a16:creationId xmlns:a16="http://schemas.microsoft.com/office/drawing/2014/main" id="{FF2EBDAF-283A-5D5A-E7B2-E0515C496D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97"/>
          <a:stretch/>
        </p:blipFill>
        <p:spPr bwMode="auto">
          <a:xfrm>
            <a:off x="4211960" y="1196752"/>
            <a:ext cx="4161503" cy="4734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1CC2EFB2-13E1-21AB-A4F5-9F1AE2BBB8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2519890"/>
            <a:ext cx="3763819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7264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cossistema para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5" name="Picture 2" descr="https://devopedia.org/images/article/86/9695.1529574302.png">
            <a:extLst>
              <a:ext uri="{FF2B5EF4-FFF2-40B4-BE49-F238E27FC236}">
                <a16:creationId xmlns:a16="http://schemas.microsoft.com/office/drawing/2014/main" id="{13C6F9A1-79BA-89F2-FD74-CF90E99FE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484784"/>
            <a:ext cx="8705880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F7B34C7E-9E1F-5EB7-CE62-E71FC40C2293}"/>
              </a:ext>
            </a:extLst>
          </p:cNvPr>
          <p:cNvSpPr txBox="1"/>
          <p:nvPr/>
        </p:nvSpPr>
        <p:spPr>
          <a:xfrm>
            <a:off x="2339752" y="5373216"/>
            <a:ext cx="199605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700" dirty="0">
                <a:latin typeface="Gotham HTF"/>
              </a:rPr>
              <a:t>Fonte: </a:t>
            </a:r>
            <a:r>
              <a:rPr lang="pt-BR" sz="700" dirty="0">
                <a:latin typeface="Gotham HTF"/>
                <a:hlinkClick r:id="rId3"/>
              </a:rPr>
              <a:t>https://devopedia.org/iot-cloud-platforms</a:t>
            </a:r>
            <a:endParaRPr lang="pt-BR" sz="7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177629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erspectivas e desafios para o Brasil</a:t>
            </a:r>
          </a:p>
        </p:txBody>
      </p:sp>
      <p:pic>
        <p:nvPicPr>
          <p:cNvPr id="3" name="Picture 2">
            <a:hlinkClick r:id="rId2"/>
            <a:extLst>
              <a:ext uri="{FF2B5EF4-FFF2-40B4-BE49-F238E27FC236}">
                <a16:creationId xmlns:a16="http://schemas.microsoft.com/office/drawing/2014/main" id="{799B92BA-C541-8D89-0EB5-4206359659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28600" y="1506517"/>
            <a:ext cx="8780535" cy="384496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B7C2598-716B-73C5-394A-D3FF549481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5401210"/>
            <a:ext cx="8780535" cy="761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285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erspectivas e desafios para o Brasil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BBFEFC2E-3B84-B7A0-5B1C-ABCAB40485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19315"/>
            <a:ext cx="4355976" cy="1725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id="{7177DC85-EFF8-BDFC-3E16-99C0F8335A92}"/>
              </a:ext>
            </a:extLst>
          </p:cNvPr>
          <p:cNvSpPr txBox="1">
            <a:spLocks/>
          </p:cNvSpPr>
          <p:nvPr/>
        </p:nvSpPr>
        <p:spPr>
          <a:xfrm>
            <a:off x="3632737" y="1206198"/>
            <a:ext cx="5602586" cy="39512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>
                <a:latin typeface="Gotham HTF"/>
              </a:rPr>
              <a:t>I - melhorar a qualidade de vida das pessoas e promover ganhos de eficiência nos serviços, por meio da implementação de soluçõe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;</a:t>
            </a:r>
          </a:p>
          <a:p>
            <a:r>
              <a:rPr lang="pt-BR" sz="1800" dirty="0">
                <a:latin typeface="Gotham HTF"/>
              </a:rPr>
              <a:t>II - promover a capacitação profissional relacionada ao desenvolvimento de aplicaçõe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 e a geração de empregos na economia digital;</a:t>
            </a:r>
          </a:p>
          <a:p>
            <a:r>
              <a:rPr lang="pt-BR" sz="1800" dirty="0">
                <a:latin typeface="Gotham HTF"/>
              </a:rPr>
              <a:t>III - incrementar a produtividade e fomentar a competitividade das empresas brasileiras desenvolvedora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, por meio da promoção de um ecossistema de inovação neste setor;</a:t>
            </a:r>
          </a:p>
          <a:p>
            <a:r>
              <a:rPr lang="pt-BR" sz="1800" dirty="0">
                <a:latin typeface="Gotham HTF"/>
              </a:rPr>
              <a:t>IV - buscar parcerias com os setores público e privado para a implementação da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; e</a:t>
            </a:r>
          </a:p>
          <a:p>
            <a:r>
              <a:rPr lang="pt-BR" sz="1800" dirty="0">
                <a:latin typeface="Gotham HTF"/>
              </a:rPr>
              <a:t>V - aumentar a integração do País no cenário internacional, por meio da participação em fóruns de padronização, da cooperação internacional em pesquisa, desenvolvimento e inovação e da internacionalização de soluções de </a:t>
            </a:r>
            <a:r>
              <a:rPr lang="pt-BR" sz="1800" dirty="0" err="1">
                <a:latin typeface="Gotham HTF"/>
              </a:rPr>
              <a:t>IoT</a:t>
            </a:r>
            <a:r>
              <a:rPr lang="pt-BR" sz="1800" dirty="0">
                <a:latin typeface="Gotham HTF"/>
              </a:rPr>
              <a:t> desenvolvidas no País.</a:t>
            </a:r>
            <a:endParaRPr lang="pt-BR" altLang="pt-BR" sz="1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19681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s de aplicações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Mídia Online 2" title="Life Simplified with Connected Devices">
            <a:hlinkClick r:id="" action="ppaction://media"/>
            <a:extLst>
              <a:ext uri="{FF2B5EF4-FFF2-40B4-BE49-F238E27FC236}">
                <a16:creationId xmlns:a16="http://schemas.microsoft.com/office/drawing/2014/main" id="{102B63DB-0409-B990-3DFD-C4629D99DBA0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300587" y="1015652"/>
            <a:ext cx="8542825" cy="4826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22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s de aplicações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76063E1F-D9ED-4945-965F-CFB582BE75D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240" t="6508"/>
          <a:stretch/>
        </p:blipFill>
        <p:spPr>
          <a:xfrm>
            <a:off x="280666" y="847682"/>
            <a:ext cx="3931294" cy="5262909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EB79E13C-8BBC-6D0F-F477-6CA64100B5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0032" y="877695"/>
            <a:ext cx="371475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391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mplos de aplicações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5851DC5-C631-4CD3-2724-F33F520ECE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242" y="811045"/>
            <a:ext cx="3426718" cy="5564258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19E5AF74-80AC-7FA5-347B-A407DB62CD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0506" y="811045"/>
            <a:ext cx="37242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108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28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This presentation has been designed using images from Flaticon.com</a:t>
            </a:r>
          </a:p>
          <a:p>
            <a:r>
              <a:rPr lang="en-US" sz="1200" dirty="0">
                <a:solidFill>
                  <a:srgbClr val="5F7D95"/>
                </a:solidFill>
                <a:latin typeface="Proxima Nova"/>
              </a:rPr>
              <a:t>Images from Monty Python’s Flying Circle: BBC, 1969. Netflix, 2019</a:t>
            </a:r>
          </a:p>
          <a:p>
            <a:r>
              <a:rPr lang="en-US" sz="1200" dirty="0">
                <a:solidFill>
                  <a:srgbClr val="5F7D95"/>
                </a:solidFill>
                <a:latin typeface="Proxima Nova"/>
              </a:rPr>
              <a:t>Imagens from Dragon Ball, Saint </a:t>
            </a:r>
            <a:r>
              <a:rPr lang="en-US" sz="1200" dirty="0" err="1">
                <a:solidFill>
                  <a:srgbClr val="5F7D95"/>
                </a:solidFill>
                <a:latin typeface="Proxima Nova"/>
              </a:rPr>
              <a:t>Seiya</a:t>
            </a:r>
            <a:r>
              <a:rPr lang="en-US" sz="1200" dirty="0">
                <a:solidFill>
                  <a:srgbClr val="5F7D95"/>
                </a:solidFill>
                <a:latin typeface="Proxima Nova"/>
              </a:rPr>
              <a:t>: Toei Animation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683568" y="940540"/>
            <a:ext cx="4625340" cy="52247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A Internet e </a:t>
            </a:r>
            <a:r>
              <a:rPr lang="en-US" sz="1600" dirty="0" err="1">
                <a:latin typeface="Gotham HTF Light"/>
                <a:cs typeface="Gotham HTF Light"/>
              </a:rPr>
              <a:t>sua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evolução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Quais</a:t>
            </a:r>
            <a:r>
              <a:rPr lang="en-US" sz="1600" dirty="0">
                <a:latin typeface="Gotham HTF Light"/>
                <a:cs typeface="Gotham HTF Light"/>
              </a:rPr>
              <a:t> as </a:t>
            </a:r>
            <a:r>
              <a:rPr lang="en-US" sz="1600" dirty="0" err="1">
                <a:latin typeface="Gotham HTF Light"/>
                <a:cs typeface="Gotham HTF Light"/>
              </a:rPr>
              <a:t>expectativas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futuro</a:t>
            </a:r>
            <a:r>
              <a:rPr lang="en-US" sz="1600" dirty="0">
                <a:latin typeface="Gotham HTF Light"/>
                <a:cs typeface="Gotham HTF Light"/>
              </a:rPr>
              <a:t>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O que é IoT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Uma </a:t>
            </a:r>
            <a:r>
              <a:rPr lang="en-US" sz="1600" dirty="0" err="1">
                <a:latin typeface="Gotham HTF Light"/>
                <a:cs typeface="Gotham HTF Light"/>
              </a:rPr>
              <a:t>visão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futuro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envolvendo</a:t>
            </a:r>
            <a:r>
              <a:rPr lang="en-US" sz="1600" dirty="0">
                <a:latin typeface="Gotham HTF Light"/>
                <a:cs typeface="Gotham HTF Light"/>
              </a:rPr>
              <a:t>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Arquitetura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referência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Composição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cenários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envolvendo</a:t>
            </a:r>
            <a:r>
              <a:rPr lang="en-US" sz="1600" dirty="0">
                <a:latin typeface="Gotham HTF Light"/>
                <a:cs typeface="Gotham HTF Light"/>
              </a:rPr>
              <a:t>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IoT </a:t>
            </a:r>
            <a:r>
              <a:rPr lang="en-US" sz="1600" dirty="0" err="1">
                <a:latin typeface="Gotham HTF Light"/>
                <a:cs typeface="Gotham HTF Light"/>
              </a:rPr>
              <a:t>nas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cidades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IoT </a:t>
            </a:r>
            <a:r>
              <a:rPr lang="en-US" sz="1600" dirty="0" err="1">
                <a:latin typeface="Gotham HTF Light"/>
                <a:cs typeface="Gotham HTF Light"/>
              </a:rPr>
              <a:t>nas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industrias</a:t>
            </a:r>
            <a:r>
              <a:rPr lang="en-US" sz="1600" dirty="0">
                <a:latin typeface="Gotham HTF Light"/>
                <a:cs typeface="Gotham HTF Light"/>
              </a:rPr>
              <a:t> – </a:t>
            </a:r>
            <a:r>
              <a:rPr lang="en-US" sz="1600" dirty="0" err="1">
                <a:latin typeface="Gotham HTF Light"/>
                <a:cs typeface="Gotham HTF Light"/>
              </a:rPr>
              <a:t>IIoT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Conectividade</a:t>
            </a:r>
            <a:r>
              <a:rPr lang="en-US" sz="1600" dirty="0">
                <a:latin typeface="Gotham HTF Light"/>
                <a:cs typeface="Gotham HTF Light"/>
              </a:rPr>
              <a:t> para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Tecnologias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curta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distância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Tecnologias</a:t>
            </a:r>
            <a:r>
              <a:rPr lang="en-US" sz="1600" dirty="0">
                <a:latin typeface="Gotham HTF Light"/>
                <a:cs typeface="Gotham HTF Light"/>
              </a:rPr>
              <a:t> de longa </a:t>
            </a:r>
            <a:r>
              <a:rPr lang="en-US" sz="1600" dirty="0" err="1">
                <a:latin typeface="Gotham HTF Light"/>
                <a:cs typeface="Gotham HTF Light"/>
              </a:rPr>
              <a:t>distância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Ecossistema</a:t>
            </a:r>
            <a:r>
              <a:rPr lang="en-US" sz="1600" dirty="0">
                <a:latin typeface="Gotham HTF Light"/>
                <a:cs typeface="Gotham HTF Light"/>
              </a:rPr>
              <a:t> para IoT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Perspectivas</a:t>
            </a:r>
            <a:r>
              <a:rPr lang="en-US" sz="1600" dirty="0">
                <a:latin typeface="Gotham HTF Light"/>
                <a:cs typeface="Gotham HTF Light"/>
              </a:rPr>
              <a:t> e </a:t>
            </a:r>
            <a:r>
              <a:rPr lang="en-US" sz="1600" dirty="0" err="1">
                <a:latin typeface="Gotham HTF Light"/>
                <a:cs typeface="Gotham HTF Light"/>
              </a:rPr>
              <a:t>desafios</a:t>
            </a:r>
            <a:r>
              <a:rPr lang="en-US" sz="1600" dirty="0">
                <a:latin typeface="Gotham HTF Light"/>
                <a:cs typeface="Gotham HTF Light"/>
              </a:rPr>
              <a:t> para o </a:t>
            </a:r>
            <a:r>
              <a:rPr lang="en-US" sz="1600" dirty="0" err="1">
                <a:latin typeface="Gotham HTF Light"/>
                <a:cs typeface="Gotham HTF Light"/>
              </a:rPr>
              <a:t>Brasil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Exemplos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aplicações</a:t>
            </a:r>
            <a:r>
              <a:rPr lang="en-US" sz="1600" dirty="0">
                <a:latin typeface="Gotham HTF Light"/>
                <a:cs typeface="Gotham HTF Light"/>
              </a:rPr>
              <a:t> IoT;</a:t>
            </a:r>
          </a:p>
        </p:txBody>
      </p:sp>
      <p:pic>
        <p:nvPicPr>
          <p:cNvPr id="12" name="Google Shape;82;p18">
            <a:extLst>
              <a:ext uri="{FF2B5EF4-FFF2-40B4-BE49-F238E27FC236}">
                <a16:creationId xmlns:a16="http://schemas.microsoft.com/office/drawing/2014/main" id="{DD7806E3-D3CC-7A66-90E1-2AA63080526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788024" y="1268760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 internet e sua evolução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FC9E2F69-A199-DAB2-18CF-B852945D49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7206" y="1485106"/>
            <a:ext cx="8129588" cy="3887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49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Quais as expectativas de futuro?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9BF2ADA-2879-A206-A155-4C9B6DDDA2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796" y="1110260"/>
            <a:ext cx="8244408" cy="4637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D20638CB-6F96-FABD-0EF0-F47A18E6A7A4}"/>
              </a:ext>
            </a:extLst>
          </p:cNvPr>
          <p:cNvSpPr txBox="1"/>
          <p:nvPr/>
        </p:nvSpPr>
        <p:spPr>
          <a:xfrm>
            <a:off x="5508104" y="5689900"/>
            <a:ext cx="24482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" dirty="0"/>
              <a:t>Fonte: Transforma Insights</a:t>
            </a:r>
            <a:br>
              <a:rPr lang="pt-BR" sz="700" dirty="0"/>
            </a:br>
            <a:endParaRPr lang="pt-BR" sz="700" dirty="0"/>
          </a:p>
        </p:txBody>
      </p:sp>
    </p:spTree>
    <p:extLst>
      <p:ext uri="{BB962C8B-B14F-4D97-AF65-F5344CB8AC3E}">
        <p14:creationId xmlns:p14="http://schemas.microsoft.com/office/powerpoint/2010/main" val="160652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E49EA4D7-1D51-A2E8-D80B-F63608016B31}"/>
              </a:ext>
            </a:extLst>
          </p:cNvPr>
          <p:cNvSpPr/>
          <p:nvPr/>
        </p:nvSpPr>
        <p:spPr>
          <a:xfrm>
            <a:off x="1349051" y="2728016"/>
            <a:ext cx="6819689" cy="12039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Gotham HTF"/>
              </a:rPr>
              <a:t>“Em sua </a:t>
            </a:r>
            <a:r>
              <a:rPr lang="pt-BR" sz="2000" b="1" dirty="0">
                <a:solidFill>
                  <a:srgbClr val="ED265B"/>
                </a:solidFill>
                <a:latin typeface="Gotham HTF"/>
              </a:rPr>
              <a:t>definição mais ampla</a:t>
            </a:r>
            <a:r>
              <a:rPr lang="pt-BR" sz="2000" dirty="0">
                <a:solidFill>
                  <a:schemeClr val="tx1"/>
                </a:solidFill>
                <a:latin typeface="Gotham HTF"/>
              </a:rPr>
              <a:t>, a Internet das Coisas engloba todos os objetos que transmitem informações através da internet, como computadores, </a:t>
            </a:r>
            <a:r>
              <a:rPr lang="pt-BR" sz="2000" i="1" dirty="0">
                <a:solidFill>
                  <a:schemeClr val="tx1"/>
                </a:solidFill>
                <a:latin typeface="Gotham HTF"/>
              </a:rPr>
              <a:t>tablets </a:t>
            </a:r>
            <a:r>
              <a:rPr lang="pt-BR" sz="2000" dirty="0">
                <a:solidFill>
                  <a:schemeClr val="tx1"/>
                </a:solidFill>
                <a:latin typeface="Gotham HTF"/>
              </a:rPr>
              <a:t>e</a:t>
            </a:r>
            <a:r>
              <a:rPr lang="pt-BR" sz="2000" i="1" dirty="0">
                <a:solidFill>
                  <a:schemeClr val="tx1"/>
                </a:solidFill>
                <a:latin typeface="Gotham HTF"/>
              </a:rPr>
              <a:t> smartphones.”</a:t>
            </a:r>
            <a:endParaRPr lang="pt-BR" sz="2000" dirty="0">
              <a:solidFill>
                <a:schemeClr val="tx1"/>
              </a:solidFill>
              <a:latin typeface="Gotham HTF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131E2D6E-787C-639D-7059-D8F569954024}"/>
              </a:ext>
            </a:extLst>
          </p:cNvPr>
          <p:cNvSpPr/>
          <p:nvPr/>
        </p:nvSpPr>
        <p:spPr>
          <a:xfrm>
            <a:off x="1136216" y="2728016"/>
            <a:ext cx="212834" cy="1203912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9D9F219-9E0E-83AF-2CCC-030830486A41}"/>
              </a:ext>
            </a:extLst>
          </p:cNvPr>
          <p:cNvSpPr>
            <a:spLocks noChangeAspect="1"/>
          </p:cNvSpPr>
          <p:nvPr/>
        </p:nvSpPr>
        <p:spPr>
          <a:xfrm>
            <a:off x="351805" y="3018245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046E937-C7A1-C4AF-AB7C-D0FC7327B3D2}"/>
              </a:ext>
            </a:extLst>
          </p:cNvPr>
          <p:cNvCxnSpPr>
            <a:stCxn id="5" idx="6"/>
            <a:endCxn id="3" idx="1"/>
          </p:cNvCxnSpPr>
          <p:nvPr/>
        </p:nvCxnSpPr>
        <p:spPr>
          <a:xfrm flipV="1">
            <a:off x="975260" y="3329972"/>
            <a:ext cx="160956" cy="1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5A22C48-2C72-A10E-9F68-6D85C9503DDE}"/>
              </a:ext>
            </a:extLst>
          </p:cNvPr>
          <p:cNvSpPr/>
          <p:nvPr/>
        </p:nvSpPr>
        <p:spPr>
          <a:xfrm>
            <a:off x="1349051" y="4385328"/>
            <a:ext cx="6819689" cy="12039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Gotham HTF"/>
              </a:rPr>
              <a:t>“A </a:t>
            </a:r>
            <a:r>
              <a:rPr lang="pt-BR" sz="2000" b="1" dirty="0">
                <a:solidFill>
                  <a:srgbClr val="ED265B"/>
                </a:solidFill>
                <a:latin typeface="Gotham HTF"/>
              </a:rPr>
              <a:t>definição mais estrita, </a:t>
            </a:r>
            <a:r>
              <a:rPr lang="pt-BR" sz="2000" dirty="0">
                <a:solidFill>
                  <a:schemeClr val="tx1"/>
                </a:solidFill>
                <a:latin typeface="Gotham HTF"/>
              </a:rPr>
              <a:t>e comumente aceita, considera apenas os objetos capazes de detectar e transmitir informações, além de atuar sem a presença constante de intervenção humana.”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971D472-ABA6-4AE4-AED0-7928A3932A9C}"/>
              </a:ext>
            </a:extLst>
          </p:cNvPr>
          <p:cNvSpPr/>
          <p:nvPr/>
        </p:nvSpPr>
        <p:spPr>
          <a:xfrm>
            <a:off x="1136216" y="4385328"/>
            <a:ext cx="212834" cy="120391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3F8D2C0B-B6E6-55CB-447F-0771B891DBB0}"/>
              </a:ext>
            </a:extLst>
          </p:cNvPr>
          <p:cNvSpPr>
            <a:spLocks noChangeAspect="1"/>
          </p:cNvSpPr>
          <p:nvPr/>
        </p:nvSpPr>
        <p:spPr>
          <a:xfrm>
            <a:off x="351805" y="4675557"/>
            <a:ext cx="623455" cy="6234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11" name="Straight Connector 9">
            <a:extLst>
              <a:ext uri="{FF2B5EF4-FFF2-40B4-BE49-F238E27FC236}">
                <a16:creationId xmlns:a16="http://schemas.microsoft.com/office/drawing/2014/main" id="{0AD0DDBC-9ECB-2E86-BB67-FB1CD3E18848}"/>
              </a:ext>
            </a:extLst>
          </p:cNvPr>
          <p:cNvCxnSpPr>
            <a:stCxn id="10" idx="6"/>
            <a:endCxn id="8" idx="1"/>
          </p:cNvCxnSpPr>
          <p:nvPr/>
        </p:nvCxnSpPr>
        <p:spPr>
          <a:xfrm flipV="1">
            <a:off x="975260" y="4987284"/>
            <a:ext cx="160956" cy="1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http://www.participa.br/thumbnails/public/0055/1154/Banner_internet_-_Plano_Nacional_de_IoT__3__display.jpg">
            <a:extLst>
              <a:ext uri="{FF2B5EF4-FFF2-40B4-BE49-F238E27FC236}">
                <a16:creationId xmlns:a16="http://schemas.microsoft.com/office/drawing/2014/main" id="{7B44EB25-6E3C-8069-D6C6-9500DA772F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805" y="882987"/>
            <a:ext cx="6399107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5475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E49EA4D7-1D51-A2E8-D80B-F63608016B31}"/>
              </a:ext>
            </a:extLst>
          </p:cNvPr>
          <p:cNvSpPr/>
          <p:nvPr/>
        </p:nvSpPr>
        <p:spPr>
          <a:xfrm>
            <a:off x="1349051" y="2728015"/>
            <a:ext cx="6819689" cy="3246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400" dirty="0">
                <a:solidFill>
                  <a:schemeClr val="tx1"/>
                </a:solidFill>
                <a:latin typeface="Gotham HTF"/>
              </a:rPr>
              <a:t>“A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Internet</a:t>
            </a:r>
            <a:r>
              <a:rPr lang="pt-BR" sz="2400" b="1" dirty="0">
                <a:solidFill>
                  <a:schemeClr val="tx1"/>
                </a:solidFill>
                <a:latin typeface="Gotham HTF"/>
              </a:rPr>
              <a:t>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das</a:t>
            </a:r>
            <a:r>
              <a:rPr lang="pt-BR" sz="2400" b="1" dirty="0">
                <a:solidFill>
                  <a:schemeClr val="tx1"/>
                </a:solidFill>
                <a:latin typeface="Gotham HTF"/>
              </a:rPr>
              <a:t>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Coisa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, ou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IoT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, consiste na rede de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todo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os objetos que se comunicam e interagem de forma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autônoma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via internet, permitindo o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monitoramento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e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gerenciamento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desses dispositivos via </a:t>
            </a:r>
            <a:r>
              <a:rPr lang="pt-BR" sz="2400" i="1" dirty="0">
                <a:solidFill>
                  <a:schemeClr val="tx1"/>
                </a:solidFill>
                <a:latin typeface="Gotham HTF"/>
              </a:rPr>
              <a:t>software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para aumentar a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eficiência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de sistemas e processos, além de habilitar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novo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serviços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e </a:t>
            </a:r>
            <a:r>
              <a:rPr lang="pt-BR" sz="2400" b="1" dirty="0">
                <a:solidFill>
                  <a:srgbClr val="ED265B"/>
                </a:solidFill>
                <a:latin typeface="Gotham HTF"/>
              </a:rPr>
              <a:t>melhorar</a:t>
            </a:r>
            <a:r>
              <a:rPr lang="pt-BR" sz="2400" dirty="0">
                <a:solidFill>
                  <a:schemeClr val="tx1"/>
                </a:solidFill>
                <a:latin typeface="Gotham HTF"/>
              </a:rPr>
              <a:t> a qualidade de vida das pessoas.”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131E2D6E-787C-639D-7059-D8F569954024}"/>
              </a:ext>
            </a:extLst>
          </p:cNvPr>
          <p:cNvSpPr/>
          <p:nvPr/>
        </p:nvSpPr>
        <p:spPr>
          <a:xfrm>
            <a:off x="1136216" y="2728016"/>
            <a:ext cx="212834" cy="324699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9D9F219-9E0E-83AF-2CCC-030830486A41}"/>
              </a:ext>
            </a:extLst>
          </p:cNvPr>
          <p:cNvSpPr>
            <a:spLocks noChangeAspect="1"/>
          </p:cNvSpPr>
          <p:nvPr/>
        </p:nvSpPr>
        <p:spPr>
          <a:xfrm>
            <a:off x="256424" y="4037551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046E937-C7A1-C4AF-AB7C-D0FC7327B3D2}"/>
              </a:ext>
            </a:extLst>
          </p:cNvPr>
          <p:cNvCxnSpPr>
            <a:cxnSpLocks/>
            <a:stCxn id="5" idx="6"/>
            <a:endCxn id="3" idx="1"/>
          </p:cNvCxnSpPr>
          <p:nvPr/>
        </p:nvCxnSpPr>
        <p:spPr>
          <a:xfrm>
            <a:off x="879879" y="4349279"/>
            <a:ext cx="256337" cy="223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http://www.participa.br/thumbnails/public/0055/1154/Banner_internet_-_Plano_Nacional_de_IoT__3__display.jpg">
            <a:extLst>
              <a:ext uri="{FF2B5EF4-FFF2-40B4-BE49-F238E27FC236}">
                <a16:creationId xmlns:a16="http://schemas.microsoft.com/office/drawing/2014/main" id="{7B44EB25-6E3C-8069-D6C6-9500DA772F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805" y="882987"/>
            <a:ext cx="6399107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63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Uma visão de futuro envolvendo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oT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4" name="Mídia Online 3" title="The Top 4 Internet of Things (IoT) Trends In 2023">
            <a:hlinkClick r:id="" action="ppaction://media"/>
            <a:extLst>
              <a:ext uri="{FF2B5EF4-FFF2-40B4-BE49-F238E27FC236}">
                <a16:creationId xmlns:a16="http://schemas.microsoft.com/office/drawing/2014/main" id="{71AE9CBC-A4B0-8F44-B3C3-B7EAA585DA6A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67544" y="1455261"/>
            <a:ext cx="8208912" cy="463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583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5117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rquitetura de referência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D0E1D5F-D1DA-5BDB-6546-A852A2F914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62"/>
          <a:stretch/>
        </p:blipFill>
        <p:spPr>
          <a:xfrm>
            <a:off x="433388" y="1124744"/>
            <a:ext cx="8277225" cy="477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660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89FCF19_CE43_47FB_8AEB_7D3A80487AE3&quot;,&quot;SourceFullName&quot;:&quot;https://www.youtube.com/embed/d7Rd6UgcrWo?feature=oembed&quot;,&quot;LastUpdate&quot;:&quot;2023-07-24 7:55 PM&quot;,&quot;UpdatedBy&quot;:&quot;Airton Toyofuku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_POWER_USER_SEPARATOR_ICONS_machine_POWER_USER_SEPARATOR_ICONS_setting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DC5124A_5CD7_40B5_BB21_C636D3F84E81&quot;,&quot;SourceFullName&quot;:&quot;https://www.youtube.com/embed/AQdLQV6vhbk?feature=oembed&quot;,&quot;LastUpdate&quot;:&quot;2023-07-24 9:25 PM&quot;,&quot;UpdatedBy&quot;:&quot;Airton Toyofuku&quot;,&quot;IsLinked&quot;:false,&quot;IsBrokenLink&quot;:false,&quot;Type&quot;:2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DA1853B4_14D0_48FC_AF53_5AD8C2A3B3FF&quot;,&quot;SourceFullName&quot;:&quot;https://www.youtube.com/embed/NjYTzvAVozo?feature=oembed&quot;,&quot;LastUpdate&quot;:&quot;2023-07-24 10:22 PM&quot;,&quot;UpdatedBy&quot;:&quot;Airton Toyofuku&quot;,&quot;IsLinked&quot;:false,&quot;IsBrokenLink&quot;:false,&quot;Type&quot;:2}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36</TotalTime>
  <Words>772</Words>
  <Application>Microsoft Office PowerPoint</Application>
  <PresentationFormat>Apresentação na tela (4:3)</PresentationFormat>
  <Paragraphs>125</Paragraphs>
  <Slides>28</Slides>
  <Notes>0</Notes>
  <HiddenSlides>0</HiddenSlides>
  <MMClips>3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28</vt:i4>
      </vt:variant>
    </vt:vector>
  </HeadingPairs>
  <TitlesOfParts>
    <vt:vector size="38" baseType="lpstr">
      <vt:lpstr>Arial</vt:lpstr>
      <vt:lpstr>Calibri</vt:lpstr>
      <vt:lpstr>Calibri Light</vt:lpstr>
      <vt:lpstr>Gotham HTF</vt:lpstr>
      <vt:lpstr>Gotham HTF Light</vt:lpstr>
      <vt:lpstr>Gotham HTF Medium</vt:lpstr>
      <vt:lpstr>Proxima Nova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408</cp:revision>
  <dcterms:created xsi:type="dcterms:W3CDTF">2018-08-18T04:32:45Z</dcterms:created>
  <dcterms:modified xsi:type="dcterms:W3CDTF">2023-07-27T12:2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